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74"/>
  </p:notesMasterIdLst>
  <p:sldIdLst>
    <p:sldId id="296" r:id="rId2"/>
    <p:sldId id="533" r:id="rId3"/>
    <p:sldId id="673" r:id="rId4"/>
    <p:sldId id="604" r:id="rId5"/>
    <p:sldId id="672" r:id="rId6"/>
    <p:sldId id="674" r:id="rId7"/>
    <p:sldId id="675" r:id="rId8"/>
    <p:sldId id="259" r:id="rId9"/>
    <p:sldId id="368" r:id="rId10"/>
    <p:sldId id="637" r:id="rId11"/>
    <p:sldId id="624" r:id="rId12"/>
    <p:sldId id="625" r:id="rId13"/>
    <p:sldId id="626" r:id="rId14"/>
    <p:sldId id="628" r:id="rId15"/>
    <p:sldId id="629" r:id="rId16"/>
    <p:sldId id="653" r:id="rId17"/>
    <p:sldId id="676" r:id="rId18"/>
    <p:sldId id="677" r:id="rId19"/>
    <p:sldId id="678" r:id="rId20"/>
    <p:sldId id="679" r:id="rId21"/>
    <p:sldId id="680" r:id="rId22"/>
    <p:sldId id="557" r:id="rId23"/>
    <p:sldId id="558" r:id="rId24"/>
    <p:sldId id="559" r:id="rId25"/>
    <p:sldId id="560" r:id="rId26"/>
    <p:sldId id="561" r:id="rId27"/>
    <p:sldId id="562" r:id="rId28"/>
    <p:sldId id="563" r:id="rId29"/>
    <p:sldId id="564" r:id="rId30"/>
    <p:sldId id="566" r:id="rId31"/>
    <p:sldId id="608" r:id="rId32"/>
    <p:sldId id="568" r:id="rId33"/>
    <p:sldId id="569" r:id="rId34"/>
    <p:sldId id="571" r:id="rId35"/>
    <p:sldId id="572" r:id="rId36"/>
    <p:sldId id="573" r:id="rId37"/>
    <p:sldId id="574" r:id="rId38"/>
    <p:sldId id="575" r:id="rId39"/>
    <p:sldId id="577" r:id="rId40"/>
    <p:sldId id="578" r:id="rId41"/>
    <p:sldId id="579" r:id="rId42"/>
    <p:sldId id="581" r:id="rId43"/>
    <p:sldId id="582" r:id="rId44"/>
    <p:sldId id="609" r:id="rId45"/>
    <p:sldId id="583" r:id="rId46"/>
    <p:sldId id="584" r:id="rId47"/>
    <p:sldId id="590" r:id="rId48"/>
    <p:sldId id="592" r:id="rId49"/>
    <p:sldId id="593" r:id="rId50"/>
    <p:sldId id="595" r:id="rId51"/>
    <p:sldId id="596" r:id="rId52"/>
    <p:sldId id="611" r:id="rId53"/>
    <p:sldId id="658" r:id="rId54"/>
    <p:sldId id="659" r:id="rId55"/>
    <p:sldId id="616" r:id="rId56"/>
    <p:sldId id="660" r:id="rId57"/>
    <p:sldId id="661" r:id="rId58"/>
    <p:sldId id="662" r:id="rId59"/>
    <p:sldId id="663" r:id="rId60"/>
    <p:sldId id="664" r:id="rId61"/>
    <p:sldId id="642" r:id="rId62"/>
    <p:sldId id="665" r:id="rId63"/>
    <p:sldId id="666" r:id="rId64"/>
    <p:sldId id="667" r:id="rId65"/>
    <p:sldId id="668" r:id="rId66"/>
    <p:sldId id="669" r:id="rId67"/>
    <p:sldId id="352" r:id="rId68"/>
    <p:sldId id="640" r:id="rId69"/>
    <p:sldId id="670" r:id="rId70"/>
    <p:sldId id="337" r:id="rId71"/>
    <p:sldId id="480" r:id="rId72"/>
    <p:sldId id="301" r:id="rId7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BCC"/>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19D070-31E6-4C2F-806B-520DB54DA17C}" v="1" dt="2020-06-24T07:25:31.714"/>
  </p1510:revLst>
</p1510:revInfo>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36" autoAdjust="0"/>
    <p:restoredTop sz="95810"/>
  </p:normalViewPr>
  <p:slideViewPr>
    <p:cSldViewPr snapToGrid="0" showGuides="1">
      <p:cViewPr varScale="1">
        <p:scale>
          <a:sx n="83" d="100"/>
          <a:sy n="83" d="100"/>
        </p:scale>
        <p:origin x="652" y="52"/>
      </p:cViewPr>
      <p:guideLst>
        <p:guide pos="5760"/>
        <p:guide orient="horz" pos="162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96" d="100"/>
          <a:sy n="96" d="100"/>
        </p:scale>
        <p:origin x="2480"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microsoft.com/office/2015/10/relationships/revisionInfo" Target="revisionInfo.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oleObject" Target="file:///\\iee.mfh\filestores\homedir\KHancox\Content%20Strategy\Inspec%20Content%20Review\Inspec%20Stats%20UD2017017.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26106584401001E-2"/>
          <c:y val="1.6175841666297399E-2"/>
          <c:w val="0.79552271969781096"/>
          <c:h val="1"/>
        </c:manualLayout>
      </c:layout>
      <c:doughnutChart>
        <c:varyColors val="1"/>
        <c:ser>
          <c:idx val="0"/>
          <c:order val="0"/>
          <c:tx>
            <c:strRef>
              <c:f>Sheet1!$C$1</c:f>
              <c:strCache>
                <c:ptCount val="1"/>
                <c:pt idx="0">
                  <c:v>Percentage</c:v>
                </c:pt>
              </c:strCache>
            </c:strRef>
          </c:tx>
          <c:dPt>
            <c:idx val="0"/>
            <c:bubble3D val="0"/>
            <c:extLst>
              <c:ext xmlns:c16="http://schemas.microsoft.com/office/drawing/2014/chart" uri="{C3380CC4-5D6E-409C-BE32-E72D297353CC}">
                <c16:uniqueId val="{00000000-703E-462E-8F9E-0A0F7EF11654}"/>
              </c:ext>
            </c:extLst>
          </c:dPt>
          <c:dPt>
            <c:idx val="1"/>
            <c:bubble3D val="0"/>
            <c:extLst>
              <c:ext xmlns:c16="http://schemas.microsoft.com/office/drawing/2014/chart" uri="{C3380CC4-5D6E-409C-BE32-E72D297353CC}">
                <c16:uniqueId val="{00000001-703E-462E-8F9E-0A0F7EF11654}"/>
              </c:ext>
            </c:extLst>
          </c:dPt>
          <c:dPt>
            <c:idx val="2"/>
            <c:bubble3D val="0"/>
            <c:extLst>
              <c:ext xmlns:c16="http://schemas.microsoft.com/office/drawing/2014/chart" uri="{C3380CC4-5D6E-409C-BE32-E72D297353CC}">
                <c16:uniqueId val="{00000002-703E-462E-8F9E-0A0F7EF11654}"/>
              </c:ext>
            </c:extLst>
          </c:dPt>
          <c:dPt>
            <c:idx val="3"/>
            <c:bubble3D val="0"/>
            <c:extLst>
              <c:ext xmlns:c16="http://schemas.microsoft.com/office/drawing/2014/chart" uri="{C3380CC4-5D6E-409C-BE32-E72D297353CC}">
                <c16:uniqueId val="{00000003-703E-462E-8F9E-0A0F7EF11654}"/>
              </c:ext>
            </c:extLst>
          </c:dPt>
          <c:dPt>
            <c:idx val="4"/>
            <c:bubble3D val="0"/>
            <c:extLst>
              <c:ext xmlns:c16="http://schemas.microsoft.com/office/drawing/2014/chart" uri="{C3380CC4-5D6E-409C-BE32-E72D297353CC}">
                <c16:uniqueId val="{00000004-703E-462E-8F9E-0A0F7EF11654}"/>
              </c:ext>
            </c:extLst>
          </c:dPt>
          <c:dLbls>
            <c:dLbl>
              <c:idx val="0"/>
              <c:tx>
                <c:rich>
                  <a:bodyPr/>
                  <a:lstStyle/>
                  <a:p>
                    <a:r>
                      <a:rPr lang="en-US" sz="1600" dirty="0">
                        <a:solidFill>
                          <a:schemeClr val="bg1"/>
                        </a:solidFill>
                      </a:rPr>
                      <a:t>Physics</a:t>
                    </a:r>
                    <a:endParaRPr lang="en-US" sz="1600" baseline="0" dirty="0">
                      <a:solidFill>
                        <a:schemeClr val="bg1"/>
                      </a:solidFill>
                    </a:endParaRP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03E-462E-8F9E-0A0F7EF11654}"/>
                </c:ext>
              </c:extLst>
            </c:dLbl>
            <c:dLbl>
              <c:idx val="1"/>
              <c:tx>
                <c:rich>
                  <a:bodyPr/>
                  <a:lstStyle/>
                  <a:p>
                    <a:r>
                      <a:rPr lang="en-US" sz="1600" dirty="0">
                        <a:solidFill>
                          <a:schemeClr val="bg1"/>
                        </a:solidFill>
                      </a:rPr>
                      <a:t>Elec.</a:t>
                    </a:r>
                    <a:r>
                      <a:rPr lang="en-US" sz="1600" baseline="0" dirty="0">
                        <a:solidFill>
                          <a:schemeClr val="bg1"/>
                        </a:solidFill>
                      </a:rPr>
                      <a:t> Engineering &amp; Electronics</a:t>
                    </a:r>
                    <a:r>
                      <a:rPr lang="en-US" sz="1600" dirty="0">
                        <a:solidFill>
                          <a:schemeClr val="bg1"/>
                        </a:solidFill>
                      </a:rPr>
                      <a:t> </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03E-462E-8F9E-0A0F7EF11654}"/>
                </c:ext>
              </c:extLst>
            </c:dLbl>
            <c:dLbl>
              <c:idx val="2"/>
              <c:tx>
                <c:rich>
                  <a:bodyPr/>
                  <a:lstStyle/>
                  <a:p>
                    <a:r>
                      <a:rPr lang="en-US" sz="1600" dirty="0">
                        <a:solidFill>
                          <a:schemeClr val="bg1"/>
                        </a:solidFill>
                      </a:rPr>
                      <a:t>Computers</a:t>
                    </a:r>
                    <a:r>
                      <a:rPr lang="en-US" sz="1600" baseline="0" dirty="0">
                        <a:solidFill>
                          <a:schemeClr val="bg1"/>
                        </a:solidFill>
                      </a:rPr>
                      <a:t> &amp;</a:t>
                    </a:r>
                  </a:p>
                  <a:p>
                    <a:r>
                      <a:rPr lang="en-US" sz="1600" baseline="0" dirty="0">
                        <a:solidFill>
                          <a:schemeClr val="bg1"/>
                        </a:solidFill>
                      </a:rPr>
                      <a:t> Control</a:t>
                    </a:r>
                    <a:r>
                      <a:rPr lang="en-US" sz="1600" dirty="0">
                        <a:solidFill>
                          <a:schemeClr val="bg1"/>
                        </a:solidFill>
                      </a:rPr>
                      <a:t> </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3E-462E-8F9E-0A0F7EF11654}"/>
                </c:ext>
              </c:extLst>
            </c:dLbl>
            <c:dLbl>
              <c:idx val="3"/>
              <c:delete val="1"/>
              <c:extLst>
                <c:ext xmlns:c15="http://schemas.microsoft.com/office/drawing/2012/chart" uri="{CE6537A1-D6FC-4f65-9D91-7224C49458BB}"/>
                <c:ext xmlns:c16="http://schemas.microsoft.com/office/drawing/2014/chart" uri="{C3380CC4-5D6E-409C-BE32-E72D297353CC}">
                  <c16:uniqueId val="{00000003-703E-462E-8F9E-0A0F7EF11654}"/>
                </c:ext>
              </c:extLst>
            </c:dLbl>
            <c:dLbl>
              <c:idx val="4"/>
              <c:tx>
                <c:rich>
                  <a:bodyPr/>
                  <a:lstStyle/>
                  <a:p>
                    <a:r>
                      <a:rPr lang="en-US" sz="1600" dirty="0" err="1">
                        <a:solidFill>
                          <a:schemeClr val="bg1"/>
                        </a:solidFill>
                      </a:rPr>
                      <a:t>Mech</a:t>
                    </a:r>
                    <a:r>
                      <a:rPr lang="en-US" sz="1600" dirty="0">
                        <a:solidFill>
                          <a:schemeClr val="bg1"/>
                        </a:solidFill>
                      </a:rPr>
                      <a:t>/Prod</a:t>
                    </a:r>
                  </a:p>
                  <a:p>
                    <a:r>
                      <a:rPr lang="en-US" sz="1600" dirty="0" err="1">
                        <a:solidFill>
                          <a:schemeClr val="bg1"/>
                        </a:solidFill>
                      </a:rPr>
                      <a:t>Eng</a:t>
                    </a:r>
                    <a:endParaRPr lang="en-US" sz="1600" dirty="0">
                      <a:solidFill>
                        <a:schemeClr val="bg1"/>
                      </a:solidFill>
                    </a:endParaRP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03E-462E-8F9E-0A0F7EF11654}"/>
                </c:ext>
              </c:extLst>
            </c:dLbl>
            <c:spPr>
              <a:noFill/>
              <a:ln>
                <a:noFill/>
              </a:ln>
              <a:effectLst/>
            </c:spPr>
            <c:txPr>
              <a:bodyPr rot="0" spcFirstLastPara="0" vertOverflow="ellipsis" vert="horz" wrap="square" lIns="38100" tIns="19050" rIns="38100" bIns="19050" anchor="ctr" anchorCtr="1"/>
              <a:lstStyle/>
              <a:p>
                <a:pPr>
                  <a:defRPr lang="en-US" sz="1600" b="0" i="0" u="none" strike="noStrike" kern="1200" baseline="0">
                    <a:solidFill>
                      <a:schemeClr val="bg1"/>
                    </a:solidFill>
                    <a:latin typeface="+mn-lt"/>
                    <a:ea typeface="+mn-ea"/>
                    <a:cs typeface="+mn-cs"/>
                  </a:defRPr>
                </a:pPr>
                <a:endParaRPr lang="en-US"/>
              </a:p>
            </c:txPr>
            <c:showLegendKey val="0"/>
            <c:showVal val="0"/>
            <c:showCatName val="1"/>
            <c:showSerName val="0"/>
            <c:showPercent val="0"/>
            <c:showBubbleSize val="0"/>
            <c:showLeaderLines val="1"/>
            <c:extLst>
              <c:ext xmlns:c15="http://schemas.microsoft.com/office/drawing/2012/chart" uri="{CE6537A1-D6FC-4f65-9D91-7224C49458BB}"/>
            </c:extLst>
          </c:dLbls>
          <c:cat>
            <c:strRef>
              <c:f>Sheet1!$A$2:$A$6</c:f>
              <c:strCache>
                <c:ptCount val="5"/>
                <c:pt idx="0">
                  <c:v>Section A - Physics</c:v>
                </c:pt>
                <c:pt idx="1">
                  <c:v>Section B - Electrical Engineering &amp; Electronics</c:v>
                </c:pt>
                <c:pt idx="2">
                  <c:v>Section C - Computers &amp; Control</c:v>
                </c:pt>
                <c:pt idx="3">
                  <c:v>Section D – IT for Business</c:v>
                </c:pt>
                <c:pt idx="4">
                  <c:v>Section E – Mechanical &amp; Production Engineering</c:v>
                </c:pt>
              </c:strCache>
            </c:strRef>
          </c:cat>
          <c:val>
            <c:numRef>
              <c:f>Sheet1!$C$2:$C$6</c:f>
              <c:numCache>
                <c:formatCode>0.00%</c:formatCode>
                <c:ptCount val="5"/>
                <c:pt idx="0">
                  <c:v>0.36061225643620298</c:v>
                </c:pt>
                <c:pt idx="1">
                  <c:v>0.30963015366753899</c:v>
                </c:pt>
                <c:pt idx="2">
                  <c:v>0.228502725920673</c:v>
                </c:pt>
                <c:pt idx="3">
                  <c:v>3.9092634789509896E-3</c:v>
                </c:pt>
                <c:pt idx="4">
                  <c:v>9.73456004966336E-2</c:v>
                </c:pt>
              </c:numCache>
            </c:numRef>
          </c:val>
          <c:extLst>
            <c:ext xmlns:c16="http://schemas.microsoft.com/office/drawing/2014/chart" uri="{C3380CC4-5D6E-409C-BE32-E72D297353CC}">
              <c16:uniqueId val="{00000005-703E-462E-8F9E-0A0F7EF11654}"/>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lang="en-US"/>
      </a:pPr>
      <a:endParaRPr lang="en-US"/>
    </a:p>
  </c:txPr>
  <c:externalData r:id="rId1">
    <c:autoUpdate val="0"/>
  </c:externalData>
</c:chartSpace>
</file>

<file path=ppt/diagrams/_rels/data3.xml.rels><?xml version="1.0" encoding="UTF-8" standalone="yes"?>
<Relationships xmlns="http://schemas.openxmlformats.org/package/2006/relationships"><Relationship Id="rId3" Type="http://schemas.openxmlformats.org/officeDocument/2006/relationships/hyperlink" Target="https://www.engineeringvillage.com/search/thesHome.url?database=1#/search/thes/fullrec.url?snum=1&amp;CID=thesFullRec&amp;term=Fruit+juices&amp;database=1" TargetMode="External"/><Relationship Id="rId2" Type="http://schemas.openxmlformats.org/officeDocument/2006/relationships/hyperlink" Target="https://www.engineeringvillage.com/search/thesHome.url?database=1#/search/thes/fullrec.url?snum=1&amp;CID=thesFullRec&amp;term=Bottling+plants&amp;database=1" TargetMode="External"/><Relationship Id="rId1" Type="http://schemas.openxmlformats.org/officeDocument/2006/relationships/hyperlink" Target="https://www.engineeringvillage.com/search/thesHome.url?database=1#/search/thes/fullrec.url?snum=1&amp;CID=thesFullRec&amp;term=Food+products&amp;database=1" TargetMode="External"/><Relationship Id="rId6" Type="http://schemas.openxmlformats.org/officeDocument/2006/relationships/hyperlink" Target="https://www.engineeringvillage.com/search/thesHome.url?database=1#/search/thes/fullrec.url?snum=2&amp;CID=thesFullRec&amp;term=Casein&amp;database=1" TargetMode="External"/><Relationship Id="rId5" Type="http://schemas.openxmlformats.org/officeDocument/2006/relationships/hyperlink" Target="https://www.engineeringvillage.com/search/thesHome.url?database=1#/search/thes/fullrec.url?snum=1&amp;CID=thesFullRec&amp;term=Dairy+products&amp;database=1" TargetMode="External"/><Relationship Id="rId4" Type="http://schemas.openxmlformats.org/officeDocument/2006/relationships/hyperlink" Target="https://www.engineeringvillage.com/search/thesHome.url?database=1#/search/thes/fullrec.url?snum=1&amp;CID=thesFullRec&amp;term=Cocoa&amp;database=1"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s://www.engineeringvillage.com/search/thesHome.url?database=1#/search/thes/fullrec.url?snum=1&amp;CID=thesFullRec&amp;term=Fruit+juices&amp;database=1" TargetMode="External"/><Relationship Id="rId2" Type="http://schemas.openxmlformats.org/officeDocument/2006/relationships/hyperlink" Target="https://www.engineeringvillage.com/search/thesHome.url?database=1#/search/thes/fullrec.url?snum=1&amp;CID=thesFullRec&amp;term=Bottling+plants&amp;database=1" TargetMode="External"/><Relationship Id="rId1" Type="http://schemas.openxmlformats.org/officeDocument/2006/relationships/hyperlink" Target="https://www.engineeringvillage.com/search/thesHome.url?database=1#/search/thes/fullrec.url?snum=1&amp;CID=thesFullRec&amp;term=Food+products&amp;database=1" TargetMode="External"/><Relationship Id="rId6" Type="http://schemas.openxmlformats.org/officeDocument/2006/relationships/hyperlink" Target="https://www.engineeringvillage.com/search/thesHome.url?database=1#/search/thes/fullrec.url?snum=2&amp;CID=thesFullRec&amp;term=Casein&amp;database=1" TargetMode="External"/><Relationship Id="rId5" Type="http://schemas.openxmlformats.org/officeDocument/2006/relationships/hyperlink" Target="https://www.engineeringvillage.com/search/thesHome.url?database=1#/search/thes/fullrec.url?snum=1&amp;CID=thesFullRec&amp;term=Dairy+products&amp;database=1" TargetMode="External"/><Relationship Id="rId4" Type="http://schemas.openxmlformats.org/officeDocument/2006/relationships/hyperlink" Target="https://www.engineeringvillage.com/search/thesHome.url?database=1#/search/thes/fullrec.url?snum=1&amp;CID=thesFullRec&amp;term=Cocoa&amp;database=1" TargetMode="Externa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DE7900-D45B-4B77-831B-9A05C9F526ED}" type="doc">
      <dgm:prSet loTypeId="urn:microsoft.com/office/officeart/2005/8/layout/hierarchy3" loCatId="relationship" qsTypeId="urn:microsoft.com/office/officeart/2005/8/quickstyle/simple1" qsCatId="simple" csTypeId="urn:microsoft.com/office/officeart/2005/8/colors/accent0_2" csCatId="mainScheme" phldr="1"/>
      <dgm:spPr/>
      <dgm:t>
        <a:bodyPr/>
        <a:lstStyle/>
        <a:p>
          <a:endParaRPr lang="en-US"/>
        </a:p>
      </dgm:t>
    </dgm:pt>
    <dgm:pt modelId="{DF08AEF2-31F2-481A-841C-C4B1C000E711}">
      <dgm:prSet phldrT="[Text]" custT="1"/>
      <dgm:spPr/>
      <dgm:t>
        <a:bodyPr/>
        <a:lstStyle/>
        <a:p>
          <a:r>
            <a:rPr lang="zh-CN" altLang="en-US" sz="1600" b="1" dirty="0"/>
            <a:t>导师给定方向后</a:t>
          </a:r>
          <a:r>
            <a:rPr lang="zh-CN" altLang="en-US" sz="1600" b="1" dirty="0">
              <a:solidFill>
                <a:srgbClr val="FF0000"/>
              </a:solidFill>
            </a:rPr>
            <a:t>泛调研</a:t>
          </a:r>
          <a:endParaRPr lang="en-US" sz="1600" b="1" dirty="0">
            <a:solidFill>
              <a:srgbClr val="FF0000"/>
            </a:solidFill>
          </a:endParaRPr>
        </a:p>
      </dgm:t>
    </dgm:pt>
    <dgm:pt modelId="{477CAE0A-8724-404F-9EA6-CF5BEF16194C}" type="parTrans" cxnId="{FDAE548E-5B7D-4CD3-8AF4-1BF6A9E5A89D}">
      <dgm:prSet/>
      <dgm:spPr/>
      <dgm:t>
        <a:bodyPr/>
        <a:lstStyle/>
        <a:p>
          <a:endParaRPr lang="en-US" sz="1600"/>
        </a:p>
      </dgm:t>
    </dgm:pt>
    <dgm:pt modelId="{8403BDBC-A101-409F-A9D7-327AEEB1C735}" type="sibTrans" cxnId="{FDAE548E-5B7D-4CD3-8AF4-1BF6A9E5A89D}">
      <dgm:prSet/>
      <dgm:spPr/>
      <dgm:t>
        <a:bodyPr/>
        <a:lstStyle/>
        <a:p>
          <a:endParaRPr lang="en-US" sz="1600"/>
        </a:p>
      </dgm:t>
    </dgm:pt>
    <dgm:pt modelId="{DFD20650-FC61-48C7-826F-44CCBBE5DD68}">
      <dgm:prSet phldrT="[Text]" custT="1"/>
      <dgm:spPr/>
      <dgm:t>
        <a:bodyPr/>
        <a:lstStyle/>
        <a:p>
          <a:r>
            <a:rPr lang="zh-CN" altLang="en-US" sz="1600" b="1" dirty="0">
              <a:solidFill>
                <a:srgbClr val="FF0000"/>
              </a:solidFill>
            </a:rPr>
            <a:t>收集</a:t>
          </a:r>
          <a:r>
            <a:rPr lang="zh-CN" altLang="en-US" sz="1600" dirty="0"/>
            <a:t>该领域的综述文献、博士学位论文；重点利用本领域经典或综述文集数据库</a:t>
          </a:r>
          <a:endParaRPr lang="en-US" sz="1600" dirty="0"/>
        </a:p>
      </dgm:t>
    </dgm:pt>
    <dgm:pt modelId="{007F6170-3262-4907-962E-B1C278025C12}" type="parTrans" cxnId="{F46FE0F9-7E70-4DC4-B991-56B0188DCFA4}">
      <dgm:prSet/>
      <dgm:spPr/>
      <dgm:t>
        <a:bodyPr/>
        <a:lstStyle/>
        <a:p>
          <a:endParaRPr lang="en-US" sz="1600"/>
        </a:p>
      </dgm:t>
    </dgm:pt>
    <dgm:pt modelId="{4954AB6C-8DC6-4724-A6C3-6D734B6DFDDD}" type="sibTrans" cxnId="{F46FE0F9-7E70-4DC4-B991-56B0188DCFA4}">
      <dgm:prSet/>
      <dgm:spPr/>
      <dgm:t>
        <a:bodyPr/>
        <a:lstStyle/>
        <a:p>
          <a:endParaRPr lang="en-US" sz="1600"/>
        </a:p>
      </dgm:t>
    </dgm:pt>
    <dgm:pt modelId="{46E730F8-C685-40D4-AE67-1F1C42C43293}">
      <dgm:prSet phldrT="[Text]" custT="1"/>
      <dgm:spPr/>
      <dgm:t>
        <a:bodyPr/>
        <a:lstStyle/>
        <a:p>
          <a:r>
            <a:rPr lang="zh-CN" altLang="en-US" sz="1400" dirty="0"/>
            <a:t>重点阅读</a:t>
          </a:r>
          <a:r>
            <a:rPr lang="zh-CN" altLang="en-US" sz="1400" b="1" dirty="0">
              <a:solidFill>
                <a:srgbClr val="FF0000"/>
              </a:solidFill>
            </a:rPr>
            <a:t>英文综述</a:t>
          </a:r>
          <a:r>
            <a:rPr lang="zh-CN" altLang="en-US" sz="1400" dirty="0"/>
            <a:t>或研究论文标题、摘要：了解</a:t>
          </a:r>
          <a:r>
            <a:rPr lang="zh-CN" altLang="en-US" sz="1400" b="1" dirty="0">
              <a:solidFill>
                <a:srgbClr val="FF0000"/>
              </a:solidFill>
            </a:rPr>
            <a:t>前沿、难点、创新点</a:t>
          </a:r>
          <a:r>
            <a:rPr lang="zh-CN" altLang="en-US" sz="1400" dirty="0"/>
            <a:t>、并收集</a:t>
          </a:r>
          <a:r>
            <a:rPr lang="zh-CN" altLang="en-US" sz="1400" b="1" dirty="0">
              <a:solidFill>
                <a:srgbClr val="FF0000"/>
              </a:solidFill>
            </a:rPr>
            <a:t>关键词</a:t>
          </a:r>
          <a:endParaRPr lang="en-US" sz="1400" b="1" dirty="0">
            <a:solidFill>
              <a:srgbClr val="FF0000"/>
            </a:solidFill>
          </a:endParaRPr>
        </a:p>
      </dgm:t>
    </dgm:pt>
    <dgm:pt modelId="{5FB49BC8-588A-40F7-8AD7-F5101CC8A95C}" type="parTrans" cxnId="{8F84D70E-901C-4C27-AD76-DAA3DFD423D4}">
      <dgm:prSet/>
      <dgm:spPr/>
      <dgm:t>
        <a:bodyPr/>
        <a:lstStyle/>
        <a:p>
          <a:endParaRPr lang="en-US" sz="1600"/>
        </a:p>
      </dgm:t>
    </dgm:pt>
    <dgm:pt modelId="{F8F9CC40-1D8A-44C3-809A-E11A5C35CFB9}" type="sibTrans" cxnId="{8F84D70E-901C-4C27-AD76-DAA3DFD423D4}">
      <dgm:prSet/>
      <dgm:spPr/>
      <dgm:t>
        <a:bodyPr/>
        <a:lstStyle/>
        <a:p>
          <a:endParaRPr lang="en-US" sz="1600"/>
        </a:p>
      </dgm:t>
    </dgm:pt>
    <dgm:pt modelId="{36295992-B831-4B9F-9B32-C5EC5BFBA0F5}">
      <dgm:prSet phldrT="[Text]" custT="1"/>
      <dgm:spPr/>
      <dgm:t>
        <a:bodyPr/>
        <a:lstStyle/>
        <a:p>
          <a:r>
            <a:rPr lang="zh-CN" altLang="en-US" sz="1600" b="1" dirty="0"/>
            <a:t>确定具体研究题目后的</a:t>
          </a:r>
          <a:r>
            <a:rPr lang="zh-CN" altLang="en-US" sz="1600" b="1" dirty="0">
              <a:solidFill>
                <a:srgbClr val="FF0000"/>
              </a:solidFill>
            </a:rPr>
            <a:t>精调研</a:t>
          </a:r>
          <a:endParaRPr lang="en-US" sz="1600" b="1" dirty="0">
            <a:solidFill>
              <a:srgbClr val="FF0000"/>
            </a:solidFill>
          </a:endParaRPr>
        </a:p>
      </dgm:t>
    </dgm:pt>
    <dgm:pt modelId="{1B08A630-4B9F-4DC5-9AD8-0C6201C4F13C}" type="parTrans" cxnId="{549268E5-E9C2-4D04-8674-4ECBD30F4CDF}">
      <dgm:prSet/>
      <dgm:spPr/>
      <dgm:t>
        <a:bodyPr/>
        <a:lstStyle/>
        <a:p>
          <a:endParaRPr lang="en-US" sz="1600"/>
        </a:p>
      </dgm:t>
    </dgm:pt>
    <dgm:pt modelId="{5D6E3673-960B-4745-8063-6C5FE9E8747C}" type="sibTrans" cxnId="{549268E5-E9C2-4D04-8674-4ECBD30F4CDF}">
      <dgm:prSet/>
      <dgm:spPr/>
      <dgm:t>
        <a:bodyPr/>
        <a:lstStyle/>
        <a:p>
          <a:endParaRPr lang="en-US" sz="1600"/>
        </a:p>
      </dgm:t>
    </dgm:pt>
    <dgm:pt modelId="{FD30D897-B1F7-49F3-BCA6-D47F77F87EFB}">
      <dgm:prSet phldrT="[Text]" custT="1"/>
      <dgm:spPr/>
      <dgm:t>
        <a:bodyPr/>
        <a:lstStyle/>
        <a:p>
          <a:r>
            <a:rPr lang="zh-CN" altLang="en-US" sz="1400" dirty="0"/>
            <a:t>有针对性的收集文献，重点在于</a:t>
          </a:r>
          <a:r>
            <a:rPr lang="zh-CN" altLang="en-US" sz="1400" b="1" dirty="0">
              <a:solidFill>
                <a:srgbClr val="FF0000"/>
              </a:solidFill>
            </a:rPr>
            <a:t>确定内容</a:t>
          </a:r>
          <a:r>
            <a:rPr lang="zh-CN" altLang="en-US" sz="1400" dirty="0"/>
            <a:t>；利用数据库的</a:t>
          </a:r>
          <a:r>
            <a:rPr lang="zh-CN" altLang="en-US" sz="1400" b="1" dirty="0">
              <a:solidFill>
                <a:srgbClr val="FF0000"/>
              </a:solidFill>
            </a:rPr>
            <a:t>分析功能</a:t>
          </a:r>
          <a:r>
            <a:rPr lang="zh-CN" altLang="en-US" sz="1400" dirty="0"/>
            <a:t>，查找主要的研究者和机构</a:t>
          </a:r>
          <a:endParaRPr lang="en-US" sz="1400" dirty="0"/>
        </a:p>
      </dgm:t>
    </dgm:pt>
    <dgm:pt modelId="{F13991D1-91CD-47C3-B05E-5D923626F396}" type="parTrans" cxnId="{B190C3BE-6C5A-44F5-B097-6C1D3271A046}">
      <dgm:prSet/>
      <dgm:spPr/>
      <dgm:t>
        <a:bodyPr/>
        <a:lstStyle/>
        <a:p>
          <a:endParaRPr lang="en-US" sz="1600"/>
        </a:p>
      </dgm:t>
    </dgm:pt>
    <dgm:pt modelId="{C3EE739E-6F52-4EB9-9DB4-A7A99FCB3175}" type="sibTrans" cxnId="{B190C3BE-6C5A-44F5-B097-6C1D3271A046}">
      <dgm:prSet/>
      <dgm:spPr/>
      <dgm:t>
        <a:bodyPr/>
        <a:lstStyle/>
        <a:p>
          <a:endParaRPr lang="en-US" sz="1600"/>
        </a:p>
      </dgm:t>
    </dgm:pt>
    <dgm:pt modelId="{BEEDB462-9F09-484B-9690-E2FBD0686F09}">
      <dgm:prSet phldrT="[Text]" custT="1"/>
      <dgm:spPr/>
      <dgm:t>
        <a:bodyPr/>
        <a:lstStyle/>
        <a:p>
          <a:r>
            <a:rPr lang="zh-CN" altLang="en-US" sz="1600" dirty="0"/>
            <a:t>文献阅读</a:t>
          </a:r>
          <a:r>
            <a:rPr lang="en-US" altLang="zh-CN" sz="1600" dirty="0"/>
            <a:t>-</a:t>
          </a:r>
          <a:r>
            <a:rPr lang="zh-CN" altLang="en-US" sz="1600" dirty="0"/>
            <a:t>泛读和</a:t>
          </a:r>
          <a:r>
            <a:rPr lang="zh-CN" altLang="en-US" sz="1600" b="1" dirty="0">
              <a:solidFill>
                <a:srgbClr val="FF0000"/>
              </a:solidFill>
            </a:rPr>
            <a:t>精读</a:t>
          </a:r>
          <a:r>
            <a:rPr lang="zh-CN" altLang="en-US" sz="1600" dirty="0"/>
            <a:t>相结合</a:t>
          </a:r>
          <a:endParaRPr lang="en-US" sz="1600" dirty="0"/>
        </a:p>
      </dgm:t>
    </dgm:pt>
    <dgm:pt modelId="{EDCF31C1-CBA5-43BE-BCB2-7A05E041BB68}" type="parTrans" cxnId="{59D4BC62-4878-4DB3-9718-DDCB9BC6BBD4}">
      <dgm:prSet/>
      <dgm:spPr/>
      <dgm:t>
        <a:bodyPr/>
        <a:lstStyle/>
        <a:p>
          <a:endParaRPr lang="en-US" sz="1600"/>
        </a:p>
      </dgm:t>
    </dgm:pt>
    <dgm:pt modelId="{F36C8F74-CBBE-4668-86BD-D4024B39DE19}" type="sibTrans" cxnId="{59D4BC62-4878-4DB3-9718-DDCB9BC6BBD4}">
      <dgm:prSet/>
      <dgm:spPr/>
      <dgm:t>
        <a:bodyPr/>
        <a:lstStyle/>
        <a:p>
          <a:endParaRPr lang="en-US" sz="1600"/>
        </a:p>
      </dgm:t>
    </dgm:pt>
    <dgm:pt modelId="{8F060D0E-E5B1-4F18-9332-5C42E4511560}">
      <dgm:prSet custT="1"/>
      <dgm:spPr/>
      <dgm:t>
        <a:bodyPr/>
        <a:lstStyle/>
        <a:p>
          <a:r>
            <a:rPr lang="zh-CN" altLang="en-US" sz="1600" dirty="0"/>
            <a:t>确定</a:t>
          </a:r>
          <a:r>
            <a:rPr lang="zh-CN" altLang="en-US" sz="1600" b="1" dirty="0">
              <a:solidFill>
                <a:srgbClr val="FF0000"/>
              </a:solidFill>
            </a:rPr>
            <a:t>研究题目</a:t>
          </a:r>
          <a:r>
            <a:rPr lang="en-US" altLang="zh-CN" sz="1600" dirty="0"/>
            <a:t>=</a:t>
          </a:r>
          <a:r>
            <a:rPr lang="zh-CN" altLang="en-US" sz="1600" dirty="0"/>
            <a:t>实验室研究背景</a:t>
          </a:r>
          <a:r>
            <a:rPr lang="en-US" altLang="zh-CN" sz="1600" dirty="0"/>
            <a:t>+</a:t>
          </a:r>
          <a:r>
            <a:rPr lang="zh-CN" altLang="en-US" sz="1600" dirty="0"/>
            <a:t>当前研究热点</a:t>
          </a:r>
          <a:r>
            <a:rPr lang="en-US" altLang="zh-CN" sz="1600" dirty="0"/>
            <a:t>+</a:t>
          </a:r>
          <a:r>
            <a:rPr lang="zh-CN" altLang="en-US" sz="1600" dirty="0"/>
            <a:t>自身兴趣点</a:t>
          </a:r>
          <a:endParaRPr lang="en-US" sz="1600" dirty="0"/>
        </a:p>
      </dgm:t>
    </dgm:pt>
    <dgm:pt modelId="{4BD34443-2E90-4AC6-945C-B75972AAB015}" type="parTrans" cxnId="{B1176389-8EE1-4921-AA8F-D1DF157C63D8}">
      <dgm:prSet/>
      <dgm:spPr/>
      <dgm:t>
        <a:bodyPr/>
        <a:lstStyle/>
        <a:p>
          <a:endParaRPr lang="en-US" sz="1600"/>
        </a:p>
      </dgm:t>
    </dgm:pt>
    <dgm:pt modelId="{CE164815-25E5-4427-8CF3-5CAF498391B6}" type="sibTrans" cxnId="{B1176389-8EE1-4921-AA8F-D1DF157C63D8}">
      <dgm:prSet/>
      <dgm:spPr/>
      <dgm:t>
        <a:bodyPr/>
        <a:lstStyle/>
        <a:p>
          <a:endParaRPr lang="en-US" sz="1600"/>
        </a:p>
      </dgm:t>
    </dgm:pt>
    <dgm:pt modelId="{89FA5E74-7DA2-4E69-8582-0FE3A091E735}">
      <dgm:prSet custT="1"/>
      <dgm:spPr/>
      <dgm:t>
        <a:bodyPr/>
        <a:lstStyle/>
        <a:p>
          <a:r>
            <a:rPr lang="zh-CN" altLang="en-US" sz="1600" dirty="0"/>
            <a:t>确定课题实施方案（技术和方法的创新）</a:t>
          </a:r>
          <a:endParaRPr lang="en-US" sz="1600" dirty="0"/>
        </a:p>
      </dgm:t>
    </dgm:pt>
    <dgm:pt modelId="{9B090774-2129-498C-8B49-4E2A019830FC}" type="parTrans" cxnId="{DA4BF328-987B-46FE-928B-FD8991620A4D}">
      <dgm:prSet/>
      <dgm:spPr/>
      <dgm:t>
        <a:bodyPr/>
        <a:lstStyle/>
        <a:p>
          <a:endParaRPr lang="en-US" sz="1600"/>
        </a:p>
      </dgm:t>
    </dgm:pt>
    <dgm:pt modelId="{22F71E64-6696-4E38-A9F4-7A4CEA2B59E6}" type="sibTrans" cxnId="{DA4BF328-987B-46FE-928B-FD8991620A4D}">
      <dgm:prSet/>
      <dgm:spPr/>
      <dgm:t>
        <a:bodyPr/>
        <a:lstStyle/>
        <a:p>
          <a:endParaRPr lang="en-US" sz="1600"/>
        </a:p>
      </dgm:t>
    </dgm:pt>
    <dgm:pt modelId="{3D30A4B5-1DE3-4296-A990-504A0FBD04F2}" type="pres">
      <dgm:prSet presAssocID="{06DE7900-D45B-4B77-831B-9A05C9F526ED}" presName="diagram" presStyleCnt="0">
        <dgm:presLayoutVars>
          <dgm:chPref val="1"/>
          <dgm:dir/>
          <dgm:animOne val="branch"/>
          <dgm:animLvl val="lvl"/>
          <dgm:resizeHandles/>
        </dgm:presLayoutVars>
      </dgm:prSet>
      <dgm:spPr/>
    </dgm:pt>
    <dgm:pt modelId="{340554BF-BF72-4925-9D28-32EDA42568C4}" type="pres">
      <dgm:prSet presAssocID="{DF08AEF2-31F2-481A-841C-C4B1C000E711}" presName="root" presStyleCnt="0"/>
      <dgm:spPr/>
    </dgm:pt>
    <dgm:pt modelId="{59BBE03A-C4D2-4EC8-8825-29A079321625}" type="pres">
      <dgm:prSet presAssocID="{DF08AEF2-31F2-481A-841C-C4B1C000E711}" presName="rootComposite" presStyleCnt="0"/>
      <dgm:spPr/>
    </dgm:pt>
    <dgm:pt modelId="{F1887038-B9BB-48D9-AFF9-93634A71C46D}" type="pres">
      <dgm:prSet presAssocID="{DF08AEF2-31F2-481A-841C-C4B1C000E711}" presName="rootText" presStyleLbl="node1" presStyleIdx="0" presStyleCnt="2" custScaleX="227932" custScaleY="58229"/>
      <dgm:spPr/>
    </dgm:pt>
    <dgm:pt modelId="{468C7EB7-AD5C-46CC-8A71-8E21CE10B1B9}" type="pres">
      <dgm:prSet presAssocID="{DF08AEF2-31F2-481A-841C-C4B1C000E711}" presName="rootConnector" presStyleLbl="node1" presStyleIdx="0" presStyleCnt="2"/>
      <dgm:spPr/>
    </dgm:pt>
    <dgm:pt modelId="{099DC444-53C7-4668-AB99-9DE56FFD965A}" type="pres">
      <dgm:prSet presAssocID="{DF08AEF2-31F2-481A-841C-C4B1C000E711}" presName="childShape" presStyleCnt="0"/>
      <dgm:spPr/>
    </dgm:pt>
    <dgm:pt modelId="{C0831717-FC20-4947-B4AA-6FB9ABB589E8}" type="pres">
      <dgm:prSet presAssocID="{007F6170-3262-4907-962E-B1C278025C12}" presName="Name13" presStyleLbl="parChTrans1D2" presStyleIdx="0" presStyleCnt="6"/>
      <dgm:spPr/>
    </dgm:pt>
    <dgm:pt modelId="{4F59178C-A6FC-4D6D-BC7B-CFFD542F1462}" type="pres">
      <dgm:prSet presAssocID="{DFD20650-FC61-48C7-826F-44CCBBE5DD68}" presName="childText" presStyleLbl="bgAcc1" presStyleIdx="0" presStyleCnt="6" custScaleX="236747" custScaleY="112403">
        <dgm:presLayoutVars>
          <dgm:bulletEnabled val="1"/>
        </dgm:presLayoutVars>
      </dgm:prSet>
      <dgm:spPr/>
    </dgm:pt>
    <dgm:pt modelId="{646EE11A-94B5-4D72-9F81-F1045B08B556}" type="pres">
      <dgm:prSet presAssocID="{5FB49BC8-588A-40F7-8AD7-F5101CC8A95C}" presName="Name13" presStyleLbl="parChTrans1D2" presStyleIdx="1" presStyleCnt="6"/>
      <dgm:spPr/>
    </dgm:pt>
    <dgm:pt modelId="{737547F8-E22A-4685-BBD7-0DB532E58127}" type="pres">
      <dgm:prSet presAssocID="{46E730F8-C685-40D4-AE67-1F1C42C43293}" presName="childText" presStyleLbl="bgAcc1" presStyleIdx="1" presStyleCnt="6" custScaleX="240120">
        <dgm:presLayoutVars>
          <dgm:bulletEnabled val="1"/>
        </dgm:presLayoutVars>
      </dgm:prSet>
      <dgm:spPr/>
    </dgm:pt>
    <dgm:pt modelId="{6D4C16E1-FCD0-4166-B22B-915F23F066CB}" type="pres">
      <dgm:prSet presAssocID="{4BD34443-2E90-4AC6-945C-B75972AAB015}" presName="Name13" presStyleLbl="parChTrans1D2" presStyleIdx="2" presStyleCnt="6"/>
      <dgm:spPr/>
    </dgm:pt>
    <dgm:pt modelId="{FDE4AF2E-6E98-4F11-B0B1-0F0264E9AE8D}" type="pres">
      <dgm:prSet presAssocID="{8F060D0E-E5B1-4F18-9332-5C42E4511560}" presName="childText" presStyleLbl="bgAcc1" presStyleIdx="2" presStyleCnt="6" custScaleX="242241">
        <dgm:presLayoutVars>
          <dgm:bulletEnabled val="1"/>
        </dgm:presLayoutVars>
      </dgm:prSet>
      <dgm:spPr/>
    </dgm:pt>
    <dgm:pt modelId="{C93495EF-1AE4-407D-8AD3-52B4864EB8D1}" type="pres">
      <dgm:prSet presAssocID="{36295992-B831-4B9F-9B32-C5EC5BFBA0F5}" presName="root" presStyleCnt="0"/>
      <dgm:spPr/>
    </dgm:pt>
    <dgm:pt modelId="{72633A77-7E7D-4D52-908A-4E16B3559F36}" type="pres">
      <dgm:prSet presAssocID="{36295992-B831-4B9F-9B32-C5EC5BFBA0F5}" presName="rootComposite" presStyleCnt="0"/>
      <dgm:spPr/>
    </dgm:pt>
    <dgm:pt modelId="{C92B0E5D-28AA-4639-9A64-A80DB12B83D3}" type="pres">
      <dgm:prSet presAssocID="{36295992-B831-4B9F-9B32-C5EC5BFBA0F5}" presName="rootText" presStyleLbl="node1" presStyleIdx="1" presStyleCnt="2" custScaleX="212935" custScaleY="63068"/>
      <dgm:spPr/>
    </dgm:pt>
    <dgm:pt modelId="{9015E733-9BC0-44E0-A689-25AC6513E376}" type="pres">
      <dgm:prSet presAssocID="{36295992-B831-4B9F-9B32-C5EC5BFBA0F5}" presName="rootConnector" presStyleLbl="node1" presStyleIdx="1" presStyleCnt="2"/>
      <dgm:spPr/>
    </dgm:pt>
    <dgm:pt modelId="{13BC0517-4A91-4CFF-842C-0D0B691777DB}" type="pres">
      <dgm:prSet presAssocID="{36295992-B831-4B9F-9B32-C5EC5BFBA0F5}" presName="childShape" presStyleCnt="0"/>
      <dgm:spPr/>
    </dgm:pt>
    <dgm:pt modelId="{5B538751-CFCE-441A-BC3C-174730F9A24F}" type="pres">
      <dgm:prSet presAssocID="{F13991D1-91CD-47C3-B05E-5D923626F396}" presName="Name13" presStyleLbl="parChTrans1D2" presStyleIdx="3" presStyleCnt="6"/>
      <dgm:spPr/>
    </dgm:pt>
    <dgm:pt modelId="{9258B671-B676-4436-8D0B-7937768C47B4}" type="pres">
      <dgm:prSet presAssocID="{FD30D897-B1F7-49F3-BCA6-D47F77F87EFB}" presName="childText" presStyleLbl="bgAcc1" presStyleIdx="3" presStyleCnt="6" custScaleX="267927" custScaleY="120806">
        <dgm:presLayoutVars>
          <dgm:bulletEnabled val="1"/>
        </dgm:presLayoutVars>
      </dgm:prSet>
      <dgm:spPr/>
    </dgm:pt>
    <dgm:pt modelId="{6BED3815-61AC-4893-ABEB-FF7F4E8212FF}" type="pres">
      <dgm:prSet presAssocID="{EDCF31C1-CBA5-43BE-BCB2-7A05E041BB68}" presName="Name13" presStyleLbl="parChTrans1D2" presStyleIdx="4" presStyleCnt="6"/>
      <dgm:spPr/>
    </dgm:pt>
    <dgm:pt modelId="{80D04140-D149-4DEC-921F-375EC8147169}" type="pres">
      <dgm:prSet presAssocID="{BEEDB462-9F09-484B-9690-E2FBD0686F09}" presName="childText" presStyleLbl="bgAcc1" presStyleIdx="4" presStyleCnt="6" custScaleX="270255">
        <dgm:presLayoutVars>
          <dgm:bulletEnabled val="1"/>
        </dgm:presLayoutVars>
      </dgm:prSet>
      <dgm:spPr/>
    </dgm:pt>
    <dgm:pt modelId="{3CAF1D05-59E1-4165-A627-CE2525CF2A36}" type="pres">
      <dgm:prSet presAssocID="{9B090774-2129-498C-8B49-4E2A019830FC}" presName="Name13" presStyleLbl="parChTrans1D2" presStyleIdx="5" presStyleCnt="6"/>
      <dgm:spPr/>
    </dgm:pt>
    <dgm:pt modelId="{746C2334-DA89-4551-B351-5AF26259B5C7}" type="pres">
      <dgm:prSet presAssocID="{89FA5E74-7DA2-4E69-8582-0FE3A091E735}" presName="childText" presStyleLbl="bgAcc1" presStyleIdx="5" presStyleCnt="6" custScaleX="270646" custLinFactNeighborY="-10504">
        <dgm:presLayoutVars>
          <dgm:bulletEnabled val="1"/>
        </dgm:presLayoutVars>
      </dgm:prSet>
      <dgm:spPr/>
    </dgm:pt>
  </dgm:ptLst>
  <dgm:cxnLst>
    <dgm:cxn modelId="{91148108-F3D5-488D-BB71-57E3949BBF84}" type="presOf" srcId="{F13991D1-91CD-47C3-B05E-5D923626F396}" destId="{5B538751-CFCE-441A-BC3C-174730F9A24F}" srcOrd="0" destOrd="0" presId="urn:microsoft.com/office/officeart/2005/8/layout/hierarchy3"/>
    <dgm:cxn modelId="{8F84D70E-901C-4C27-AD76-DAA3DFD423D4}" srcId="{DF08AEF2-31F2-481A-841C-C4B1C000E711}" destId="{46E730F8-C685-40D4-AE67-1F1C42C43293}" srcOrd="1" destOrd="0" parTransId="{5FB49BC8-588A-40F7-8AD7-F5101CC8A95C}" sibTransId="{F8F9CC40-1D8A-44C3-809A-E11A5C35CFB9}"/>
    <dgm:cxn modelId="{98C7A017-CD98-4150-B34D-4D10D8D7DA22}" type="presOf" srcId="{36295992-B831-4B9F-9B32-C5EC5BFBA0F5}" destId="{C92B0E5D-28AA-4639-9A64-A80DB12B83D3}" srcOrd="0" destOrd="0" presId="urn:microsoft.com/office/officeart/2005/8/layout/hierarchy3"/>
    <dgm:cxn modelId="{1454CD22-B0C1-4D62-BB3C-2D5C09AF6576}" type="presOf" srcId="{DF08AEF2-31F2-481A-841C-C4B1C000E711}" destId="{468C7EB7-AD5C-46CC-8A71-8E21CE10B1B9}" srcOrd="1" destOrd="0" presId="urn:microsoft.com/office/officeart/2005/8/layout/hierarchy3"/>
    <dgm:cxn modelId="{DA4BF328-987B-46FE-928B-FD8991620A4D}" srcId="{36295992-B831-4B9F-9B32-C5EC5BFBA0F5}" destId="{89FA5E74-7DA2-4E69-8582-0FE3A091E735}" srcOrd="2" destOrd="0" parTransId="{9B090774-2129-498C-8B49-4E2A019830FC}" sibTransId="{22F71E64-6696-4E38-A9F4-7A4CEA2B59E6}"/>
    <dgm:cxn modelId="{96E0E62A-930E-48CC-9747-1D848366298D}" type="presOf" srcId="{DFD20650-FC61-48C7-826F-44CCBBE5DD68}" destId="{4F59178C-A6FC-4D6D-BC7B-CFFD542F1462}" srcOrd="0" destOrd="0" presId="urn:microsoft.com/office/officeart/2005/8/layout/hierarchy3"/>
    <dgm:cxn modelId="{D181303B-F388-4760-A38D-1F01D3F019E8}" type="presOf" srcId="{007F6170-3262-4907-962E-B1C278025C12}" destId="{C0831717-FC20-4947-B4AA-6FB9ABB589E8}" srcOrd="0" destOrd="0" presId="urn:microsoft.com/office/officeart/2005/8/layout/hierarchy3"/>
    <dgm:cxn modelId="{233C1A60-3553-4D50-A329-772BEE3C145E}" type="presOf" srcId="{DF08AEF2-31F2-481A-841C-C4B1C000E711}" destId="{F1887038-B9BB-48D9-AFF9-93634A71C46D}" srcOrd="0" destOrd="0" presId="urn:microsoft.com/office/officeart/2005/8/layout/hierarchy3"/>
    <dgm:cxn modelId="{59D4BC62-4878-4DB3-9718-DDCB9BC6BBD4}" srcId="{36295992-B831-4B9F-9B32-C5EC5BFBA0F5}" destId="{BEEDB462-9F09-484B-9690-E2FBD0686F09}" srcOrd="1" destOrd="0" parTransId="{EDCF31C1-CBA5-43BE-BCB2-7A05E041BB68}" sibTransId="{F36C8F74-CBBE-4668-86BD-D4024B39DE19}"/>
    <dgm:cxn modelId="{7E477B6B-95CF-4248-BF05-7846841CA2AB}" type="presOf" srcId="{8F060D0E-E5B1-4F18-9332-5C42E4511560}" destId="{FDE4AF2E-6E98-4F11-B0B1-0F0264E9AE8D}" srcOrd="0" destOrd="0" presId="urn:microsoft.com/office/officeart/2005/8/layout/hierarchy3"/>
    <dgm:cxn modelId="{8C45916B-45FA-4C9B-9697-432B2FE62153}" type="presOf" srcId="{5FB49BC8-588A-40F7-8AD7-F5101CC8A95C}" destId="{646EE11A-94B5-4D72-9F81-F1045B08B556}" srcOrd="0" destOrd="0" presId="urn:microsoft.com/office/officeart/2005/8/layout/hierarchy3"/>
    <dgm:cxn modelId="{F1901953-9950-4D6E-B0EA-A34A696709EE}" type="presOf" srcId="{36295992-B831-4B9F-9B32-C5EC5BFBA0F5}" destId="{9015E733-9BC0-44E0-A689-25AC6513E376}" srcOrd="1" destOrd="0" presId="urn:microsoft.com/office/officeart/2005/8/layout/hierarchy3"/>
    <dgm:cxn modelId="{E9298480-7F21-42DD-8D2C-951C0C23D9BD}" type="presOf" srcId="{4BD34443-2E90-4AC6-945C-B75972AAB015}" destId="{6D4C16E1-FCD0-4166-B22B-915F23F066CB}" srcOrd="0" destOrd="0" presId="urn:microsoft.com/office/officeart/2005/8/layout/hierarchy3"/>
    <dgm:cxn modelId="{B1176389-8EE1-4921-AA8F-D1DF157C63D8}" srcId="{DF08AEF2-31F2-481A-841C-C4B1C000E711}" destId="{8F060D0E-E5B1-4F18-9332-5C42E4511560}" srcOrd="2" destOrd="0" parTransId="{4BD34443-2E90-4AC6-945C-B75972AAB015}" sibTransId="{CE164815-25E5-4427-8CF3-5CAF498391B6}"/>
    <dgm:cxn modelId="{2B30CD8A-52CE-4FAA-B048-8602E2712126}" type="presOf" srcId="{BEEDB462-9F09-484B-9690-E2FBD0686F09}" destId="{80D04140-D149-4DEC-921F-375EC8147169}" srcOrd="0" destOrd="0" presId="urn:microsoft.com/office/officeart/2005/8/layout/hierarchy3"/>
    <dgm:cxn modelId="{FDAE548E-5B7D-4CD3-8AF4-1BF6A9E5A89D}" srcId="{06DE7900-D45B-4B77-831B-9A05C9F526ED}" destId="{DF08AEF2-31F2-481A-841C-C4B1C000E711}" srcOrd="0" destOrd="0" parTransId="{477CAE0A-8724-404F-9EA6-CF5BEF16194C}" sibTransId="{8403BDBC-A101-409F-A9D7-327AEEB1C735}"/>
    <dgm:cxn modelId="{BDA836B0-78A3-4A71-B81F-600F70EC8AF6}" type="presOf" srcId="{FD30D897-B1F7-49F3-BCA6-D47F77F87EFB}" destId="{9258B671-B676-4436-8D0B-7937768C47B4}" srcOrd="0" destOrd="0" presId="urn:microsoft.com/office/officeart/2005/8/layout/hierarchy3"/>
    <dgm:cxn modelId="{B190C3BE-6C5A-44F5-B097-6C1D3271A046}" srcId="{36295992-B831-4B9F-9B32-C5EC5BFBA0F5}" destId="{FD30D897-B1F7-49F3-BCA6-D47F77F87EFB}" srcOrd="0" destOrd="0" parTransId="{F13991D1-91CD-47C3-B05E-5D923626F396}" sibTransId="{C3EE739E-6F52-4EB9-9DB4-A7A99FCB3175}"/>
    <dgm:cxn modelId="{7693B7C6-9CE0-4199-9011-92E09ABC1502}" type="presOf" srcId="{46E730F8-C685-40D4-AE67-1F1C42C43293}" destId="{737547F8-E22A-4685-BBD7-0DB532E58127}" srcOrd="0" destOrd="0" presId="urn:microsoft.com/office/officeart/2005/8/layout/hierarchy3"/>
    <dgm:cxn modelId="{666EBED9-9D42-40DD-9544-E17F4CCE6734}" type="presOf" srcId="{9B090774-2129-498C-8B49-4E2A019830FC}" destId="{3CAF1D05-59E1-4165-A627-CE2525CF2A36}" srcOrd="0" destOrd="0" presId="urn:microsoft.com/office/officeart/2005/8/layout/hierarchy3"/>
    <dgm:cxn modelId="{0B1564DD-9F63-48EF-B10A-280C6B5E5A59}" type="presOf" srcId="{89FA5E74-7DA2-4E69-8582-0FE3A091E735}" destId="{746C2334-DA89-4551-B351-5AF26259B5C7}" srcOrd="0" destOrd="0" presId="urn:microsoft.com/office/officeart/2005/8/layout/hierarchy3"/>
    <dgm:cxn modelId="{549268E5-E9C2-4D04-8674-4ECBD30F4CDF}" srcId="{06DE7900-D45B-4B77-831B-9A05C9F526ED}" destId="{36295992-B831-4B9F-9B32-C5EC5BFBA0F5}" srcOrd="1" destOrd="0" parTransId="{1B08A630-4B9F-4DC5-9AD8-0C6201C4F13C}" sibTransId="{5D6E3673-960B-4745-8063-6C5FE9E8747C}"/>
    <dgm:cxn modelId="{995761F9-9B74-4836-98FC-94F97F808092}" type="presOf" srcId="{EDCF31C1-CBA5-43BE-BCB2-7A05E041BB68}" destId="{6BED3815-61AC-4893-ABEB-FF7F4E8212FF}" srcOrd="0" destOrd="0" presId="urn:microsoft.com/office/officeart/2005/8/layout/hierarchy3"/>
    <dgm:cxn modelId="{F46FE0F9-7E70-4DC4-B991-56B0188DCFA4}" srcId="{DF08AEF2-31F2-481A-841C-C4B1C000E711}" destId="{DFD20650-FC61-48C7-826F-44CCBBE5DD68}" srcOrd="0" destOrd="0" parTransId="{007F6170-3262-4907-962E-B1C278025C12}" sibTransId="{4954AB6C-8DC6-4724-A6C3-6D734B6DFDDD}"/>
    <dgm:cxn modelId="{F37E36FC-A36B-4463-8DA7-E67179241468}" type="presOf" srcId="{06DE7900-D45B-4B77-831B-9A05C9F526ED}" destId="{3D30A4B5-1DE3-4296-A990-504A0FBD04F2}" srcOrd="0" destOrd="0" presId="urn:microsoft.com/office/officeart/2005/8/layout/hierarchy3"/>
    <dgm:cxn modelId="{99D23CA6-3F7C-4E24-B75A-78FCCE4C8312}" type="presParOf" srcId="{3D30A4B5-1DE3-4296-A990-504A0FBD04F2}" destId="{340554BF-BF72-4925-9D28-32EDA42568C4}" srcOrd="0" destOrd="0" presId="urn:microsoft.com/office/officeart/2005/8/layout/hierarchy3"/>
    <dgm:cxn modelId="{9655EC6D-43CD-40BC-A95C-1F1DB5188F1B}" type="presParOf" srcId="{340554BF-BF72-4925-9D28-32EDA42568C4}" destId="{59BBE03A-C4D2-4EC8-8825-29A079321625}" srcOrd="0" destOrd="0" presId="urn:microsoft.com/office/officeart/2005/8/layout/hierarchy3"/>
    <dgm:cxn modelId="{F33C3816-F23E-4C45-B435-E01F435CFC6D}" type="presParOf" srcId="{59BBE03A-C4D2-4EC8-8825-29A079321625}" destId="{F1887038-B9BB-48D9-AFF9-93634A71C46D}" srcOrd="0" destOrd="0" presId="urn:microsoft.com/office/officeart/2005/8/layout/hierarchy3"/>
    <dgm:cxn modelId="{60BC2960-EC86-43E0-BDAF-E21D089BB93E}" type="presParOf" srcId="{59BBE03A-C4D2-4EC8-8825-29A079321625}" destId="{468C7EB7-AD5C-46CC-8A71-8E21CE10B1B9}" srcOrd="1" destOrd="0" presId="urn:microsoft.com/office/officeart/2005/8/layout/hierarchy3"/>
    <dgm:cxn modelId="{F624F678-9347-42F7-92A4-077435291F08}" type="presParOf" srcId="{340554BF-BF72-4925-9D28-32EDA42568C4}" destId="{099DC444-53C7-4668-AB99-9DE56FFD965A}" srcOrd="1" destOrd="0" presId="urn:microsoft.com/office/officeart/2005/8/layout/hierarchy3"/>
    <dgm:cxn modelId="{ED514D94-E125-409C-8951-B19DF16E207B}" type="presParOf" srcId="{099DC444-53C7-4668-AB99-9DE56FFD965A}" destId="{C0831717-FC20-4947-B4AA-6FB9ABB589E8}" srcOrd="0" destOrd="0" presId="urn:microsoft.com/office/officeart/2005/8/layout/hierarchy3"/>
    <dgm:cxn modelId="{88AC454F-D013-45D0-A535-DD89CD8FAA8B}" type="presParOf" srcId="{099DC444-53C7-4668-AB99-9DE56FFD965A}" destId="{4F59178C-A6FC-4D6D-BC7B-CFFD542F1462}" srcOrd="1" destOrd="0" presId="urn:microsoft.com/office/officeart/2005/8/layout/hierarchy3"/>
    <dgm:cxn modelId="{D43BE4FB-9273-4F37-A52E-0745815C4781}" type="presParOf" srcId="{099DC444-53C7-4668-AB99-9DE56FFD965A}" destId="{646EE11A-94B5-4D72-9F81-F1045B08B556}" srcOrd="2" destOrd="0" presId="urn:microsoft.com/office/officeart/2005/8/layout/hierarchy3"/>
    <dgm:cxn modelId="{8597B7FA-B6F9-45EE-B7A6-99759B69CFFD}" type="presParOf" srcId="{099DC444-53C7-4668-AB99-9DE56FFD965A}" destId="{737547F8-E22A-4685-BBD7-0DB532E58127}" srcOrd="3" destOrd="0" presId="urn:microsoft.com/office/officeart/2005/8/layout/hierarchy3"/>
    <dgm:cxn modelId="{5AC584D5-A81D-4455-9FE3-F2171B60E8E3}" type="presParOf" srcId="{099DC444-53C7-4668-AB99-9DE56FFD965A}" destId="{6D4C16E1-FCD0-4166-B22B-915F23F066CB}" srcOrd="4" destOrd="0" presId="urn:microsoft.com/office/officeart/2005/8/layout/hierarchy3"/>
    <dgm:cxn modelId="{A9DF0DBF-0732-4288-9383-8797A7F5B804}" type="presParOf" srcId="{099DC444-53C7-4668-AB99-9DE56FFD965A}" destId="{FDE4AF2E-6E98-4F11-B0B1-0F0264E9AE8D}" srcOrd="5" destOrd="0" presId="urn:microsoft.com/office/officeart/2005/8/layout/hierarchy3"/>
    <dgm:cxn modelId="{742DB6CD-1DFA-47A3-9A77-310032CE9EC0}" type="presParOf" srcId="{3D30A4B5-1DE3-4296-A990-504A0FBD04F2}" destId="{C93495EF-1AE4-407D-8AD3-52B4864EB8D1}" srcOrd="1" destOrd="0" presId="urn:microsoft.com/office/officeart/2005/8/layout/hierarchy3"/>
    <dgm:cxn modelId="{C2F77264-E477-48A8-A197-904F7166217F}" type="presParOf" srcId="{C93495EF-1AE4-407D-8AD3-52B4864EB8D1}" destId="{72633A77-7E7D-4D52-908A-4E16B3559F36}" srcOrd="0" destOrd="0" presId="urn:microsoft.com/office/officeart/2005/8/layout/hierarchy3"/>
    <dgm:cxn modelId="{6B59698E-A37C-4FC6-A406-3A5969AB9B5B}" type="presParOf" srcId="{72633A77-7E7D-4D52-908A-4E16B3559F36}" destId="{C92B0E5D-28AA-4639-9A64-A80DB12B83D3}" srcOrd="0" destOrd="0" presId="urn:microsoft.com/office/officeart/2005/8/layout/hierarchy3"/>
    <dgm:cxn modelId="{C116C2E1-4383-4BEA-BE34-1536FF1098AA}" type="presParOf" srcId="{72633A77-7E7D-4D52-908A-4E16B3559F36}" destId="{9015E733-9BC0-44E0-A689-25AC6513E376}" srcOrd="1" destOrd="0" presId="urn:microsoft.com/office/officeart/2005/8/layout/hierarchy3"/>
    <dgm:cxn modelId="{66FCBBA9-11B2-465E-B1F5-5E9E0D7BCFAD}" type="presParOf" srcId="{C93495EF-1AE4-407D-8AD3-52B4864EB8D1}" destId="{13BC0517-4A91-4CFF-842C-0D0B691777DB}" srcOrd="1" destOrd="0" presId="urn:microsoft.com/office/officeart/2005/8/layout/hierarchy3"/>
    <dgm:cxn modelId="{76C7A5E3-631D-40D9-BF9B-C52C8A5709DD}" type="presParOf" srcId="{13BC0517-4A91-4CFF-842C-0D0B691777DB}" destId="{5B538751-CFCE-441A-BC3C-174730F9A24F}" srcOrd="0" destOrd="0" presId="urn:microsoft.com/office/officeart/2005/8/layout/hierarchy3"/>
    <dgm:cxn modelId="{7C6DF3C7-9B1A-40E5-A3CA-DA0AD429C9A9}" type="presParOf" srcId="{13BC0517-4A91-4CFF-842C-0D0B691777DB}" destId="{9258B671-B676-4436-8D0B-7937768C47B4}" srcOrd="1" destOrd="0" presId="urn:microsoft.com/office/officeart/2005/8/layout/hierarchy3"/>
    <dgm:cxn modelId="{5C3BAA65-6C64-48B2-93D6-1E6640FFB3A3}" type="presParOf" srcId="{13BC0517-4A91-4CFF-842C-0D0B691777DB}" destId="{6BED3815-61AC-4893-ABEB-FF7F4E8212FF}" srcOrd="2" destOrd="0" presId="urn:microsoft.com/office/officeart/2005/8/layout/hierarchy3"/>
    <dgm:cxn modelId="{118F41DB-5241-4C90-A2F7-098B8AF3EDFA}" type="presParOf" srcId="{13BC0517-4A91-4CFF-842C-0D0B691777DB}" destId="{80D04140-D149-4DEC-921F-375EC8147169}" srcOrd="3" destOrd="0" presId="urn:microsoft.com/office/officeart/2005/8/layout/hierarchy3"/>
    <dgm:cxn modelId="{6EF13DA9-F695-43C1-A588-E57112844806}" type="presParOf" srcId="{13BC0517-4A91-4CFF-842C-0D0B691777DB}" destId="{3CAF1D05-59E1-4165-A627-CE2525CF2A36}" srcOrd="4" destOrd="0" presId="urn:microsoft.com/office/officeart/2005/8/layout/hierarchy3"/>
    <dgm:cxn modelId="{00D47A96-F3EB-4321-9922-0DE13FBB5FB1}" type="presParOf" srcId="{13BC0517-4A91-4CFF-842C-0D0B691777DB}" destId="{746C2334-DA89-4551-B351-5AF26259B5C7}"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2217B5-5601-430E-84B2-6EF03A04C3A7}" type="doc">
      <dgm:prSet loTypeId="urn:microsoft.com/office/officeart/2009/layout/CirclePictureHierarchy" loCatId="hierarchy" qsTypeId="urn:microsoft.com/office/officeart/2005/8/quickstyle/simple1" qsCatId="simple" csTypeId="urn:microsoft.com/office/officeart/2005/8/colors/accent1_2" csCatId="accent1" phldr="1"/>
      <dgm:spPr/>
      <dgm:t>
        <a:bodyPr/>
        <a:lstStyle/>
        <a:p>
          <a:endParaRPr lang="en-US"/>
        </a:p>
      </dgm:t>
    </dgm:pt>
    <dgm:pt modelId="{EB0F388D-42F5-433A-BCDA-1775BB8A9D03}">
      <dgm:prSet phldrT="[Text]"/>
      <dgm:spPr/>
      <dgm:t>
        <a:bodyPr/>
        <a:lstStyle/>
        <a:p>
          <a:r>
            <a:rPr lang="en-US" dirty="0"/>
            <a:t>Materials Science</a:t>
          </a:r>
        </a:p>
      </dgm:t>
    </dgm:pt>
    <dgm:pt modelId="{8DE3C2E5-B03D-4490-8DA6-78928CAD1D13}" type="parTrans" cxnId="{74052965-CD3F-45BC-8FBE-EC47841BF45B}">
      <dgm:prSet/>
      <dgm:spPr/>
      <dgm:t>
        <a:bodyPr/>
        <a:lstStyle/>
        <a:p>
          <a:endParaRPr lang="en-US"/>
        </a:p>
      </dgm:t>
    </dgm:pt>
    <dgm:pt modelId="{7D20E64E-721A-4AF3-B4CC-F51CF143F380}" type="sibTrans" cxnId="{74052965-CD3F-45BC-8FBE-EC47841BF45B}">
      <dgm:prSet/>
      <dgm:spPr/>
      <dgm:t>
        <a:bodyPr/>
        <a:lstStyle/>
        <a:p>
          <a:endParaRPr lang="en-US"/>
        </a:p>
      </dgm:t>
    </dgm:pt>
    <dgm:pt modelId="{81128408-DE69-42F6-8802-2ACF4D47B26C}">
      <dgm:prSet phldrT="[Text]"/>
      <dgm:spPr/>
      <dgm:t>
        <a:bodyPr/>
        <a:lstStyle/>
        <a:p>
          <a:r>
            <a:rPr lang="en-US" dirty="0"/>
            <a:t>Surface properties</a:t>
          </a:r>
        </a:p>
      </dgm:t>
    </dgm:pt>
    <dgm:pt modelId="{8CD0EC7E-C6A3-4B3D-85FA-6CFADB38B0C1}" type="parTrans" cxnId="{B359C9CA-50DE-49E5-AD00-9812EEF66B68}">
      <dgm:prSet/>
      <dgm:spPr/>
      <dgm:t>
        <a:bodyPr/>
        <a:lstStyle/>
        <a:p>
          <a:endParaRPr lang="en-US"/>
        </a:p>
      </dgm:t>
    </dgm:pt>
    <dgm:pt modelId="{9C85CCFA-D418-457D-AB06-0DFDB0B60072}" type="sibTrans" cxnId="{B359C9CA-50DE-49E5-AD00-9812EEF66B68}">
      <dgm:prSet/>
      <dgm:spPr/>
      <dgm:t>
        <a:bodyPr/>
        <a:lstStyle/>
        <a:p>
          <a:endParaRPr lang="en-US"/>
        </a:p>
      </dgm:t>
    </dgm:pt>
    <dgm:pt modelId="{8EBD719C-7C6C-445A-A6F2-64A2274F6F6B}">
      <dgm:prSet phldrT="[Text]"/>
      <dgm:spPr/>
      <dgm:t>
        <a:bodyPr/>
        <a:lstStyle/>
        <a:p>
          <a:r>
            <a:rPr lang="en-US" dirty="0"/>
            <a:t>Surface charge</a:t>
          </a:r>
        </a:p>
      </dgm:t>
    </dgm:pt>
    <dgm:pt modelId="{DB5A5103-500C-4945-A4D7-86776C866782}" type="parTrans" cxnId="{5DA72C71-28C8-4AA5-A141-71F5EA8FBC20}">
      <dgm:prSet/>
      <dgm:spPr/>
      <dgm:t>
        <a:bodyPr/>
        <a:lstStyle/>
        <a:p>
          <a:endParaRPr lang="en-US"/>
        </a:p>
      </dgm:t>
    </dgm:pt>
    <dgm:pt modelId="{E6F6FBB1-B14B-40C9-A94E-30BEF698F7D8}" type="sibTrans" cxnId="{5DA72C71-28C8-4AA5-A141-71F5EA8FBC20}">
      <dgm:prSet/>
      <dgm:spPr/>
      <dgm:t>
        <a:bodyPr/>
        <a:lstStyle/>
        <a:p>
          <a:endParaRPr lang="en-US"/>
        </a:p>
      </dgm:t>
    </dgm:pt>
    <dgm:pt modelId="{BB2E509E-3E5F-4F01-BED2-30F268FBD5BA}">
      <dgm:prSet phldrT="[Text]"/>
      <dgm:spPr/>
      <dgm:t>
        <a:bodyPr/>
        <a:lstStyle/>
        <a:p>
          <a:r>
            <a:rPr lang="en-US" dirty="0"/>
            <a:t>Surface analysis</a:t>
          </a:r>
        </a:p>
      </dgm:t>
    </dgm:pt>
    <dgm:pt modelId="{77912A07-46C6-4036-A35A-E0E59AFA27AE}" type="parTrans" cxnId="{A5FE64EE-3B80-4C71-8F6E-19D6BA9896E8}">
      <dgm:prSet/>
      <dgm:spPr/>
      <dgm:t>
        <a:bodyPr/>
        <a:lstStyle/>
        <a:p>
          <a:endParaRPr lang="en-US"/>
        </a:p>
      </dgm:t>
    </dgm:pt>
    <dgm:pt modelId="{E710BFAF-F31A-47B0-BD14-8753FCD35ABF}" type="sibTrans" cxnId="{A5FE64EE-3B80-4C71-8F6E-19D6BA9896E8}">
      <dgm:prSet/>
      <dgm:spPr/>
      <dgm:t>
        <a:bodyPr/>
        <a:lstStyle/>
        <a:p>
          <a:endParaRPr lang="en-US"/>
        </a:p>
      </dgm:t>
    </dgm:pt>
    <dgm:pt modelId="{26BD5465-67F7-41AF-95F6-860786E54EEB}">
      <dgm:prSet phldrT="[Text]"/>
      <dgm:spPr/>
      <dgm:t>
        <a:bodyPr/>
        <a:lstStyle/>
        <a:p>
          <a:r>
            <a:rPr lang="en-US" dirty="0"/>
            <a:t>Adhesion</a:t>
          </a:r>
        </a:p>
      </dgm:t>
    </dgm:pt>
    <dgm:pt modelId="{D5DAFED8-7D2C-4E87-87C8-433BC17C57E5}" type="parTrans" cxnId="{5B2F1ED4-5976-489D-866D-CD3CA6D30525}">
      <dgm:prSet/>
      <dgm:spPr/>
      <dgm:t>
        <a:bodyPr/>
        <a:lstStyle/>
        <a:p>
          <a:endParaRPr lang="en-US"/>
        </a:p>
      </dgm:t>
    </dgm:pt>
    <dgm:pt modelId="{F89E6241-3B91-4731-9436-8B13B5A116B2}" type="sibTrans" cxnId="{5B2F1ED4-5976-489D-866D-CD3CA6D30525}">
      <dgm:prSet/>
      <dgm:spPr/>
      <dgm:t>
        <a:bodyPr/>
        <a:lstStyle/>
        <a:p>
          <a:endParaRPr lang="en-US"/>
        </a:p>
      </dgm:t>
    </dgm:pt>
    <dgm:pt modelId="{299301F3-AF45-4E29-A6DE-C84F5558A828}">
      <dgm:prSet phldrT="[Text]"/>
      <dgm:spPr/>
      <dgm:t>
        <a:bodyPr/>
        <a:lstStyle/>
        <a:p>
          <a:r>
            <a:rPr lang="en-US" altLang="zh-CN" dirty="0"/>
            <a:t>Bond (</a:t>
          </a:r>
          <a:r>
            <a:rPr lang="en-US" altLang="zh-CN" dirty="0" err="1"/>
            <a:t>mansory</a:t>
          </a:r>
          <a:r>
            <a:rPr lang="en-US" altLang="zh-CN" dirty="0"/>
            <a:t>)</a:t>
          </a:r>
          <a:endParaRPr lang="en-US" dirty="0"/>
        </a:p>
      </dgm:t>
    </dgm:pt>
    <dgm:pt modelId="{90396A73-886D-4244-B1D3-B57D5B559078}" type="parTrans" cxnId="{190F91D4-581D-4973-AD17-E018225E9D8B}">
      <dgm:prSet/>
      <dgm:spPr/>
      <dgm:t>
        <a:bodyPr/>
        <a:lstStyle/>
        <a:p>
          <a:endParaRPr lang="en-US"/>
        </a:p>
      </dgm:t>
    </dgm:pt>
    <dgm:pt modelId="{4BA380DE-D399-4CF7-B480-3F1B2DF0F769}" type="sibTrans" cxnId="{190F91D4-581D-4973-AD17-E018225E9D8B}">
      <dgm:prSet/>
      <dgm:spPr/>
      <dgm:t>
        <a:bodyPr/>
        <a:lstStyle/>
        <a:p>
          <a:endParaRPr lang="en-US"/>
        </a:p>
      </dgm:t>
    </dgm:pt>
    <dgm:pt modelId="{D5551F48-9F00-4B87-A308-F9FEFBE27AD8}" type="pres">
      <dgm:prSet presAssocID="{FF2217B5-5601-430E-84B2-6EF03A04C3A7}" presName="hierChild1" presStyleCnt="0">
        <dgm:presLayoutVars>
          <dgm:chPref val="1"/>
          <dgm:dir/>
          <dgm:animOne val="branch"/>
          <dgm:animLvl val="lvl"/>
          <dgm:resizeHandles/>
        </dgm:presLayoutVars>
      </dgm:prSet>
      <dgm:spPr/>
    </dgm:pt>
    <dgm:pt modelId="{80DB1E53-A2D0-4809-8CC3-8773F884A814}" type="pres">
      <dgm:prSet presAssocID="{EB0F388D-42F5-433A-BCDA-1775BB8A9D03}" presName="hierRoot1" presStyleCnt="0"/>
      <dgm:spPr/>
    </dgm:pt>
    <dgm:pt modelId="{F1EBD1FD-70A5-4429-8803-D662E9CC951F}" type="pres">
      <dgm:prSet presAssocID="{EB0F388D-42F5-433A-BCDA-1775BB8A9D03}" presName="composite" presStyleCnt="0"/>
      <dgm:spPr/>
    </dgm:pt>
    <dgm:pt modelId="{B6F306F8-F059-4492-9F3D-D65BC08BBDB0}" type="pres">
      <dgm:prSet presAssocID="{EB0F388D-42F5-433A-BCDA-1775BB8A9D03}" presName="image" presStyleLbl="node0" presStyleIdx="0" presStyleCnt="1"/>
      <dgm:spPr>
        <a:solidFill>
          <a:schemeClr val="accent1">
            <a:hueOff val="0"/>
            <a:satOff val="0"/>
            <a:lumOff val="0"/>
          </a:schemeClr>
        </a:solidFill>
      </dgm:spPr>
    </dgm:pt>
    <dgm:pt modelId="{FAB2176A-D728-4C7F-9773-EBA2A78F6AAC}" type="pres">
      <dgm:prSet presAssocID="{EB0F388D-42F5-433A-BCDA-1775BB8A9D03}" presName="text" presStyleLbl="revTx" presStyleIdx="0" presStyleCnt="6">
        <dgm:presLayoutVars>
          <dgm:chPref val="3"/>
        </dgm:presLayoutVars>
      </dgm:prSet>
      <dgm:spPr/>
    </dgm:pt>
    <dgm:pt modelId="{3569914C-5E47-4D2E-B0C9-1A86C7E520DC}" type="pres">
      <dgm:prSet presAssocID="{EB0F388D-42F5-433A-BCDA-1775BB8A9D03}" presName="hierChild2" presStyleCnt="0"/>
      <dgm:spPr/>
    </dgm:pt>
    <dgm:pt modelId="{E68CD161-B85E-4EE3-8781-E7AFA0142ADB}" type="pres">
      <dgm:prSet presAssocID="{8CD0EC7E-C6A3-4B3D-85FA-6CFADB38B0C1}" presName="Name10" presStyleLbl="parChTrans1D2" presStyleIdx="0" presStyleCnt="2"/>
      <dgm:spPr/>
    </dgm:pt>
    <dgm:pt modelId="{3EA718E0-165D-4A73-A459-DEC3D279CA67}" type="pres">
      <dgm:prSet presAssocID="{81128408-DE69-42F6-8802-2ACF4D47B26C}" presName="hierRoot2" presStyleCnt="0"/>
      <dgm:spPr/>
    </dgm:pt>
    <dgm:pt modelId="{35BDE759-AFF2-4D34-A850-3551B682D652}" type="pres">
      <dgm:prSet presAssocID="{81128408-DE69-42F6-8802-2ACF4D47B26C}" presName="composite2" presStyleCnt="0"/>
      <dgm:spPr/>
    </dgm:pt>
    <dgm:pt modelId="{70EC3EDA-A842-4570-8B9E-9246B79F7F5C}" type="pres">
      <dgm:prSet presAssocID="{81128408-DE69-42F6-8802-2ACF4D47B26C}" presName="image2" presStyleLbl="node2" presStyleIdx="0" presStyleCnt="2"/>
      <dgm:spPr>
        <a:solidFill>
          <a:schemeClr val="accent1">
            <a:hueOff val="0"/>
            <a:satOff val="0"/>
            <a:lumOff val="0"/>
          </a:schemeClr>
        </a:solidFill>
        <a:ln w="0"/>
      </dgm:spPr>
    </dgm:pt>
    <dgm:pt modelId="{CC2DF1D5-BB57-4CF1-8295-F70DB76D73AB}" type="pres">
      <dgm:prSet presAssocID="{81128408-DE69-42F6-8802-2ACF4D47B26C}" presName="text2" presStyleLbl="revTx" presStyleIdx="1" presStyleCnt="6">
        <dgm:presLayoutVars>
          <dgm:chPref val="3"/>
        </dgm:presLayoutVars>
      </dgm:prSet>
      <dgm:spPr/>
    </dgm:pt>
    <dgm:pt modelId="{93225F85-F571-4F15-8B2C-8BC81C5B109A}" type="pres">
      <dgm:prSet presAssocID="{81128408-DE69-42F6-8802-2ACF4D47B26C}" presName="hierChild3" presStyleCnt="0"/>
      <dgm:spPr/>
    </dgm:pt>
    <dgm:pt modelId="{634185A6-C112-45B6-901A-8DE10E30CF79}" type="pres">
      <dgm:prSet presAssocID="{DB5A5103-500C-4945-A4D7-86776C866782}" presName="Name17" presStyleLbl="parChTrans1D3" presStyleIdx="0" presStyleCnt="3"/>
      <dgm:spPr/>
    </dgm:pt>
    <dgm:pt modelId="{FDC35850-F542-487B-A328-DDC9D9B0812D}" type="pres">
      <dgm:prSet presAssocID="{8EBD719C-7C6C-445A-A6F2-64A2274F6F6B}" presName="hierRoot3" presStyleCnt="0"/>
      <dgm:spPr/>
    </dgm:pt>
    <dgm:pt modelId="{905B2403-AB5A-4EC3-B607-E67A15A0006F}" type="pres">
      <dgm:prSet presAssocID="{8EBD719C-7C6C-445A-A6F2-64A2274F6F6B}" presName="composite3" presStyleCnt="0"/>
      <dgm:spPr/>
    </dgm:pt>
    <dgm:pt modelId="{1F8590E5-9503-4CA2-96AA-0CCE53260947}" type="pres">
      <dgm:prSet presAssocID="{8EBD719C-7C6C-445A-A6F2-64A2274F6F6B}" presName="image3" presStyleLbl="node3" presStyleIdx="0" presStyleCnt="3"/>
      <dgm:spPr>
        <a:solidFill>
          <a:schemeClr val="accent1">
            <a:hueOff val="0"/>
            <a:satOff val="0"/>
            <a:lumOff val="0"/>
          </a:schemeClr>
        </a:solidFill>
      </dgm:spPr>
    </dgm:pt>
    <dgm:pt modelId="{956F152B-7CF2-41E7-8608-8F30368B7773}" type="pres">
      <dgm:prSet presAssocID="{8EBD719C-7C6C-445A-A6F2-64A2274F6F6B}" presName="text3" presStyleLbl="revTx" presStyleIdx="2" presStyleCnt="6">
        <dgm:presLayoutVars>
          <dgm:chPref val="3"/>
        </dgm:presLayoutVars>
      </dgm:prSet>
      <dgm:spPr/>
    </dgm:pt>
    <dgm:pt modelId="{46C6EAC7-71EC-45AD-B1F3-6B92925658CB}" type="pres">
      <dgm:prSet presAssocID="{8EBD719C-7C6C-445A-A6F2-64A2274F6F6B}" presName="hierChild4" presStyleCnt="0"/>
      <dgm:spPr/>
    </dgm:pt>
    <dgm:pt modelId="{6FF2A988-98F8-4AB4-90A9-32F811E93636}" type="pres">
      <dgm:prSet presAssocID="{77912A07-46C6-4036-A35A-E0E59AFA27AE}" presName="Name17" presStyleLbl="parChTrans1D3" presStyleIdx="1" presStyleCnt="3"/>
      <dgm:spPr/>
    </dgm:pt>
    <dgm:pt modelId="{4A7A3E44-0479-4C44-A521-63DD9C1F034C}" type="pres">
      <dgm:prSet presAssocID="{BB2E509E-3E5F-4F01-BED2-30F268FBD5BA}" presName="hierRoot3" presStyleCnt="0"/>
      <dgm:spPr/>
    </dgm:pt>
    <dgm:pt modelId="{5EF34F2F-C759-4CA3-9571-839DF418397B}" type="pres">
      <dgm:prSet presAssocID="{BB2E509E-3E5F-4F01-BED2-30F268FBD5BA}" presName="composite3" presStyleCnt="0"/>
      <dgm:spPr/>
    </dgm:pt>
    <dgm:pt modelId="{033F5BAC-0320-49A6-B954-A152EA86FCBD}" type="pres">
      <dgm:prSet presAssocID="{BB2E509E-3E5F-4F01-BED2-30F268FBD5BA}" presName="image3" presStyleLbl="node3" presStyleIdx="1" presStyleCnt="3"/>
      <dgm:spPr>
        <a:solidFill>
          <a:schemeClr val="accent1">
            <a:hueOff val="0"/>
            <a:satOff val="0"/>
            <a:lumOff val="0"/>
          </a:schemeClr>
        </a:solidFill>
      </dgm:spPr>
    </dgm:pt>
    <dgm:pt modelId="{1AE47C81-548F-4E9A-B22C-0E691682381B}" type="pres">
      <dgm:prSet presAssocID="{BB2E509E-3E5F-4F01-BED2-30F268FBD5BA}" presName="text3" presStyleLbl="revTx" presStyleIdx="3" presStyleCnt="6">
        <dgm:presLayoutVars>
          <dgm:chPref val="3"/>
        </dgm:presLayoutVars>
      </dgm:prSet>
      <dgm:spPr/>
    </dgm:pt>
    <dgm:pt modelId="{2C2F6CEF-9B34-4B8D-8691-C628A3208F05}" type="pres">
      <dgm:prSet presAssocID="{BB2E509E-3E5F-4F01-BED2-30F268FBD5BA}" presName="hierChild4" presStyleCnt="0"/>
      <dgm:spPr/>
    </dgm:pt>
    <dgm:pt modelId="{2D8F6ADC-F269-45A2-B7D0-BB75D3FCAA2E}" type="pres">
      <dgm:prSet presAssocID="{D5DAFED8-7D2C-4E87-87C8-433BC17C57E5}" presName="Name10" presStyleLbl="parChTrans1D2" presStyleIdx="1" presStyleCnt="2"/>
      <dgm:spPr/>
    </dgm:pt>
    <dgm:pt modelId="{9EC6633B-2F1A-4427-8151-0BDBFFD0B343}" type="pres">
      <dgm:prSet presAssocID="{26BD5465-67F7-41AF-95F6-860786E54EEB}" presName="hierRoot2" presStyleCnt="0"/>
      <dgm:spPr/>
    </dgm:pt>
    <dgm:pt modelId="{F686245F-1C53-44F0-944A-BECA912D619E}" type="pres">
      <dgm:prSet presAssocID="{26BD5465-67F7-41AF-95F6-860786E54EEB}" presName="composite2" presStyleCnt="0"/>
      <dgm:spPr/>
    </dgm:pt>
    <dgm:pt modelId="{8B6C7CB6-284C-45BB-B251-3C386A1CAA15}" type="pres">
      <dgm:prSet presAssocID="{26BD5465-67F7-41AF-95F6-860786E54EEB}" presName="image2" presStyleLbl="node2" presStyleIdx="1" presStyleCnt="2"/>
      <dgm:spPr>
        <a:solidFill>
          <a:schemeClr val="accent1">
            <a:hueOff val="0"/>
            <a:satOff val="0"/>
            <a:lumOff val="0"/>
          </a:schemeClr>
        </a:solidFill>
      </dgm:spPr>
    </dgm:pt>
    <dgm:pt modelId="{64A31FC5-B569-41BB-9EEA-8A721975A567}" type="pres">
      <dgm:prSet presAssocID="{26BD5465-67F7-41AF-95F6-860786E54EEB}" presName="text2" presStyleLbl="revTx" presStyleIdx="4" presStyleCnt="6">
        <dgm:presLayoutVars>
          <dgm:chPref val="3"/>
        </dgm:presLayoutVars>
      </dgm:prSet>
      <dgm:spPr/>
    </dgm:pt>
    <dgm:pt modelId="{AF72EE1B-A5F3-41C3-9466-17E84F8669C5}" type="pres">
      <dgm:prSet presAssocID="{26BD5465-67F7-41AF-95F6-860786E54EEB}" presName="hierChild3" presStyleCnt="0"/>
      <dgm:spPr/>
    </dgm:pt>
    <dgm:pt modelId="{5B1ACCFC-574C-4116-811B-7F514A3FA134}" type="pres">
      <dgm:prSet presAssocID="{90396A73-886D-4244-B1D3-B57D5B559078}" presName="Name17" presStyleLbl="parChTrans1D3" presStyleIdx="2" presStyleCnt="3"/>
      <dgm:spPr/>
    </dgm:pt>
    <dgm:pt modelId="{D32C4E96-3F49-4697-A48E-22F240613B28}" type="pres">
      <dgm:prSet presAssocID="{299301F3-AF45-4E29-A6DE-C84F5558A828}" presName="hierRoot3" presStyleCnt="0"/>
      <dgm:spPr/>
    </dgm:pt>
    <dgm:pt modelId="{ABB89855-8F7D-4ECD-8E93-892BDB647CD9}" type="pres">
      <dgm:prSet presAssocID="{299301F3-AF45-4E29-A6DE-C84F5558A828}" presName="composite3" presStyleCnt="0"/>
      <dgm:spPr/>
    </dgm:pt>
    <dgm:pt modelId="{57E70CB2-FC35-49CA-9BCD-0D8BE8159DAC}" type="pres">
      <dgm:prSet presAssocID="{299301F3-AF45-4E29-A6DE-C84F5558A828}" presName="image3" presStyleLbl="node3" presStyleIdx="2" presStyleCnt="3"/>
      <dgm:spPr>
        <a:solidFill>
          <a:schemeClr val="accent1">
            <a:hueOff val="0"/>
            <a:satOff val="0"/>
            <a:lumOff val="0"/>
          </a:schemeClr>
        </a:solidFill>
      </dgm:spPr>
    </dgm:pt>
    <dgm:pt modelId="{FD3887F1-8C59-48B3-8424-087DC903993F}" type="pres">
      <dgm:prSet presAssocID="{299301F3-AF45-4E29-A6DE-C84F5558A828}" presName="text3" presStyleLbl="revTx" presStyleIdx="5" presStyleCnt="6">
        <dgm:presLayoutVars>
          <dgm:chPref val="3"/>
        </dgm:presLayoutVars>
      </dgm:prSet>
      <dgm:spPr/>
    </dgm:pt>
    <dgm:pt modelId="{E8B8E714-2BEC-4B2F-A6C1-0F6FB4A0AAF6}" type="pres">
      <dgm:prSet presAssocID="{299301F3-AF45-4E29-A6DE-C84F5558A828}" presName="hierChild4" presStyleCnt="0"/>
      <dgm:spPr/>
    </dgm:pt>
  </dgm:ptLst>
  <dgm:cxnLst>
    <dgm:cxn modelId="{C9B9CB2F-DC64-4159-8DBF-862BE271261B}" type="presOf" srcId="{DB5A5103-500C-4945-A4D7-86776C866782}" destId="{634185A6-C112-45B6-901A-8DE10E30CF79}" srcOrd="0" destOrd="0" presId="urn:microsoft.com/office/officeart/2009/layout/CirclePictureHierarchy"/>
    <dgm:cxn modelId="{FA5CFB3B-1C54-4991-B758-6AAFC191C77B}" type="presOf" srcId="{299301F3-AF45-4E29-A6DE-C84F5558A828}" destId="{FD3887F1-8C59-48B3-8424-087DC903993F}" srcOrd="0" destOrd="0" presId="urn:microsoft.com/office/officeart/2009/layout/CirclePictureHierarchy"/>
    <dgm:cxn modelId="{3A774B40-B425-45A4-B858-DD40F678409D}" type="presOf" srcId="{D5DAFED8-7D2C-4E87-87C8-433BC17C57E5}" destId="{2D8F6ADC-F269-45A2-B7D0-BB75D3FCAA2E}" srcOrd="0" destOrd="0" presId="urn:microsoft.com/office/officeart/2009/layout/CirclePictureHierarchy"/>
    <dgm:cxn modelId="{BF0D255E-470E-458D-B946-519E32E5D360}" type="presOf" srcId="{EB0F388D-42F5-433A-BCDA-1775BB8A9D03}" destId="{FAB2176A-D728-4C7F-9773-EBA2A78F6AAC}" srcOrd="0" destOrd="0" presId="urn:microsoft.com/office/officeart/2009/layout/CirclePictureHierarchy"/>
    <dgm:cxn modelId="{74052965-CD3F-45BC-8FBE-EC47841BF45B}" srcId="{FF2217B5-5601-430E-84B2-6EF03A04C3A7}" destId="{EB0F388D-42F5-433A-BCDA-1775BB8A9D03}" srcOrd="0" destOrd="0" parTransId="{8DE3C2E5-B03D-4490-8DA6-78928CAD1D13}" sibTransId="{7D20E64E-721A-4AF3-B4CC-F51CF143F380}"/>
    <dgm:cxn modelId="{E96B1767-6E86-4160-8F51-327794FE20A9}" type="presOf" srcId="{26BD5465-67F7-41AF-95F6-860786E54EEB}" destId="{64A31FC5-B569-41BB-9EEA-8A721975A567}" srcOrd="0" destOrd="0" presId="urn:microsoft.com/office/officeart/2009/layout/CirclePictureHierarchy"/>
    <dgm:cxn modelId="{99CB696E-34B6-4D43-B188-0704858D0083}" type="presOf" srcId="{8EBD719C-7C6C-445A-A6F2-64A2274F6F6B}" destId="{956F152B-7CF2-41E7-8608-8F30368B7773}" srcOrd="0" destOrd="0" presId="urn:microsoft.com/office/officeart/2009/layout/CirclePictureHierarchy"/>
    <dgm:cxn modelId="{5DA72C71-28C8-4AA5-A141-71F5EA8FBC20}" srcId="{81128408-DE69-42F6-8802-2ACF4D47B26C}" destId="{8EBD719C-7C6C-445A-A6F2-64A2274F6F6B}" srcOrd="0" destOrd="0" parTransId="{DB5A5103-500C-4945-A4D7-86776C866782}" sibTransId="{E6F6FBB1-B14B-40C9-A94E-30BEF698F7D8}"/>
    <dgm:cxn modelId="{D05DA67C-6343-45C4-9CD9-618CAF842A25}" type="presOf" srcId="{90396A73-886D-4244-B1D3-B57D5B559078}" destId="{5B1ACCFC-574C-4116-811B-7F514A3FA134}" srcOrd="0" destOrd="0" presId="urn:microsoft.com/office/officeart/2009/layout/CirclePictureHierarchy"/>
    <dgm:cxn modelId="{E88EB690-45B7-4211-B1F1-93DAE59C6347}" type="presOf" srcId="{BB2E509E-3E5F-4F01-BED2-30F268FBD5BA}" destId="{1AE47C81-548F-4E9A-B22C-0E691682381B}" srcOrd="0" destOrd="0" presId="urn:microsoft.com/office/officeart/2009/layout/CirclePictureHierarchy"/>
    <dgm:cxn modelId="{8F6E05B7-F48F-4CF5-A225-A77AB12A576B}" type="presOf" srcId="{8CD0EC7E-C6A3-4B3D-85FA-6CFADB38B0C1}" destId="{E68CD161-B85E-4EE3-8781-E7AFA0142ADB}" srcOrd="0" destOrd="0" presId="urn:microsoft.com/office/officeart/2009/layout/CirclePictureHierarchy"/>
    <dgm:cxn modelId="{3754BBC0-8146-4386-938C-02CA87D2AF26}" type="presOf" srcId="{81128408-DE69-42F6-8802-2ACF4D47B26C}" destId="{CC2DF1D5-BB57-4CF1-8295-F70DB76D73AB}" srcOrd="0" destOrd="0" presId="urn:microsoft.com/office/officeart/2009/layout/CirclePictureHierarchy"/>
    <dgm:cxn modelId="{A42232C9-AF5E-426B-8FBE-19CC7D1BEB0E}" type="presOf" srcId="{FF2217B5-5601-430E-84B2-6EF03A04C3A7}" destId="{D5551F48-9F00-4B87-A308-F9FEFBE27AD8}" srcOrd="0" destOrd="0" presId="urn:microsoft.com/office/officeart/2009/layout/CirclePictureHierarchy"/>
    <dgm:cxn modelId="{B359C9CA-50DE-49E5-AD00-9812EEF66B68}" srcId="{EB0F388D-42F5-433A-BCDA-1775BB8A9D03}" destId="{81128408-DE69-42F6-8802-2ACF4D47B26C}" srcOrd="0" destOrd="0" parTransId="{8CD0EC7E-C6A3-4B3D-85FA-6CFADB38B0C1}" sibTransId="{9C85CCFA-D418-457D-AB06-0DFDB0B60072}"/>
    <dgm:cxn modelId="{5B2F1ED4-5976-489D-866D-CD3CA6D30525}" srcId="{EB0F388D-42F5-433A-BCDA-1775BB8A9D03}" destId="{26BD5465-67F7-41AF-95F6-860786E54EEB}" srcOrd="1" destOrd="0" parTransId="{D5DAFED8-7D2C-4E87-87C8-433BC17C57E5}" sibTransId="{F89E6241-3B91-4731-9436-8B13B5A116B2}"/>
    <dgm:cxn modelId="{190F91D4-581D-4973-AD17-E018225E9D8B}" srcId="{26BD5465-67F7-41AF-95F6-860786E54EEB}" destId="{299301F3-AF45-4E29-A6DE-C84F5558A828}" srcOrd="0" destOrd="0" parTransId="{90396A73-886D-4244-B1D3-B57D5B559078}" sibTransId="{4BA380DE-D399-4CF7-B480-3F1B2DF0F769}"/>
    <dgm:cxn modelId="{4A9F91DF-575E-468A-AE01-0E06E5FBE580}" type="presOf" srcId="{77912A07-46C6-4036-A35A-E0E59AFA27AE}" destId="{6FF2A988-98F8-4AB4-90A9-32F811E93636}" srcOrd="0" destOrd="0" presId="urn:microsoft.com/office/officeart/2009/layout/CirclePictureHierarchy"/>
    <dgm:cxn modelId="{A5FE64EE-3B80-4C71-8F6E-19D6BA9896E8}" srcId="{81128408-DE69-42F6-8802-2ACF4D47B26C}" destId="{BB2E509E-3E5F-4F01-BED2-30F268FBD5BA}" srcOrd="1" destOrd="0" parTransId="{77912A07-46C6-4036-A35A-E0E59AFA27AE}" sibTransId="{E710BFAF-F31A-47B0-BD14-8753FCD35ABF}"/>
    <dgm:cxn modelId="{9480F03A-E3C8-4257-933D-348FE4D0DACE}" type="presParOf" srcId="{D5551F48-9F00-4B87-A308-F9FEFBE27AD8}" destId="{80DB1E53-A2D0-4809-8CC3-8773F884A814}" srcOrd="0" destOrd="0" presId="urn:microsoft.com/office/officeart/2009/layout/CirclePictureHierarchy"/>
    <dgm:cxn modelId="{B5ED9119-1355-4D05-8E69-39D3E8F29E06}" type="presParOf" srcId="{80DB1E53-A2D0-4809-8CC3-8773F884A814}" destId="{F1EBD1FD-70A5-4429-8803-D662E9CC951F}" srcOrd="0" destOrd="0" presId="urn:microsoft.com/office/officeart/2009/layout/CirclePictureHierarchy"/>
    <dgm:cxn modelId="{BF2372DD-9395-4790-B1B7-6205C03E4DB4}" type="presParOf" srcId="{F1EBD1FD-70A5-4429-8803-D662E9CC951F}" destId="{B6F306F8-F059-4492-9F3D-D65BC08BBDB0}" srcOrd="0" destOrd="0" presId="urn:microsoft.com/office/officeart/2009/layout/CirclePictureHierarchy"/>
    <dgm:cxn modelId="{93F31DF7-A231-4647-AD57-C7AEB3D6360B}" type="presParOf" srcId="{F1EBD1FD-70A5-4429-8803-D662E9CC951F}" destId="{FAB2176A-D728-4C7F-9773-EBA2A78F6AAC}" srcOrd="1" destOrd="0" presId="urn:microsoft.com/office/officeart/2009/layout/CirclePictureHierarchy"/>
    <dgm:cxn modelId="{B6804802-D6D2-4BA5-BF2D-23712F74029C}" type="presParOf" srcId="{80DB1E53-A2D0-4809-8CC3-8773F884A814}" destId="{3569914C-5E47-4D2E-B0C9-1A86C7E520DC}" srcOrd="1" destOrd="0" presId="urn:microsoft.com/office/officeart/2009/layout/CirclePictureHierarchy"/>
    <dgm:cxn modelId="{EC2F5290-1169-469D-B2A6-96153ACD8D83}" type="presParOf" srcId="{3569914C-5E47-4D2E-B0C9-1A86C7E520DC}" destId="{E68CD161-B85E-4EE3-8781-E7AFA0142ADB}" srcOrd="0" destOrd="0" presId="urn:microsoft.com/office/officeart/2009/layout/CirclePictureHierarchy"/>
    <dgm:cxn modelId="{A8940C45-4627-4821-8769-DEEB9E021E5E}" type="presParOf" srcId="{3569914C-5E47-4D2E-B0C9-1A86C7E520DC}" destId="{3EA718E0-165D-4A73-A459-DEC3D279CA67}" srcOrd="1" destOrd="0" presId="urn:microsoft.com/office/officeart/2009/layout/CirclePictureHierarchy"/>
    <dgm:cxn modelId="{22B62FFC-2C76-4526-B822-338B43890CCC}" type="presParOf" srcId="{3EA718E0-165D-4A73-A459-DEC3D279CA67}" destId="{35BDE759-AFF2-4D34-A850-3551B682D652}" srcOrd="0" destOrd="0" presId="urn:microsoft.com/office/officeart/2009/layout/CirclePictureHierarchy"/>
    <dgm:cxn modelId="{43F2C604-61F1-4E4B-8E5D-55CAD1AEEF5A}" type="presParOf" srcId="{35BDE759-AFF2-4D34-A850-3551B682D652}" destId="{70EC3EDA-A842-4570-8B9E-9246B79F7F5C}" srcOrd="0" destOrd="0" presId="urn:microsoft.com/office/officeart/2009/layout/CirclePictureHierarchy"/>
    <dgm:cxn modelId="{D65833C6-928A-421D-9E48-AC5B5554260A}" type="presParOf" srcId="{35BDE759-AFF2-4D34-A850-3551B682D652}" destId="{CC2DF1D5-BB57-4CF1-8295-F70DB76D73AB}" srcOrd="1" destOrd="0" presId="urn:microsoft.com/office/officeart/2009/layout/CirclePictureHierarchy"/>
    <dgm:cxn modelId="{E4AD0F84-FF71-4935-854D-B1B9FDA90052}" type="presParOf" srcId="{3EA718E0-165D-4A73-A459-DEC3D279CA67}" destId="{93225F85-F571-4F15-8B2C-8BC81C5B109A}" srcOrd="1" destOrd="0" presId="urn:microsoft.com/office/officeart/2009/layout/CirclePictureHierarchy"/>
    <dgm:cxn modelId="{2E6C6FFB-4933-4D6E-A223-14749D4828DD}" type="presParOf" srcId="{93225F85-F571-4F15-8B2C-8BC81C5B109A}" destId="{634185A6-C112-45B6-901A-8DE10E30CF79}" srcOrd="0" destOrd="0" presId="urn:microsoft.com/office/officeart/2009/layout/CirclePictureHierarchy"/>
    <dgm:cxn modelId="{016DDEFB-579A-4955-9112-317A48F8E55B}" type="presParOf" srcId="{93225F85-F571-4F15-8B2C-8BC81C5B109A}" destId="{FDC35850-F542-487B-A328-DDC9D9B0812D}" srcOrd="1" destOrd="0" presId="urn:microsoft.com/office/officeart/2009/layout/CirclePictureHierarchy"/>
    <dgm:cxn modelId="{55D0AA79-8A6B-4FD7-9060-7BD8FDA39B1E}" type="presParOf" srcId="{FDC35850-F542-487B-A328-DDC9D9B0812D}" destId="{905B2403-AB5A-4EC3-B607-E67A15A0006F}" srcOrd="0" destOrd="0" presId="urn:microsoft.com/office/officeart/2009/layout/CirclePictureHierarchy"/>
    <dgm:cxn modelId="{08CFED47-3703-48C6-9A17-505BF68048D1}" type="presParOf" srcId="{905B2403-AB5A-4EC3-B607-E67A15A0006F}" destId="{1F8590E5-9503-4CA2-96AA-0CCE53260947}" srcOrd="0" destOrd="0" presId="urn:microsoft.com/office/officeart/2009/layout/CirclePictureHierarchy"/>
    <dgm:cxn modelId="{88F5D35C-F6E1-470C-A3C1-FA8B2159162A}" type="presParOf" srcId="{905B2403-AB5A-4EC3-B607-E67A15A0006F}" destId="{956F152B-7CF2-41E7-8608-8F30368B7773}" srcOrd="1" destOrd="0" presId="urn:microsoft.com/office/officeart/2009/layout/CirclePictureHierarchy"/>
    <dgm:cxn modelId="{BAA720CE-28AC-47D8-813B-362A1A56001C}" type="presParOf" srcId="{FDC35850-F542-487B-A328-DDC9D9B0812D}" destId="{46C6EAC7-71EC-45AD-B1F3-6B92925658CB}" srcOrd="1" destOrd="0" presId="urn:microsoft.com/office/officeart/2009/layout/CirclePictureHierarchy"/>
    <dgm:cxn modelId="{419A1255-76E5-4F34-8579-5309BBEDD39A}" type="presParOf" srcId="{93225F85-F571-4F15-8B2C-8BC81C5B109A}" destId="{6FF2A988-98F8-4AB4-90A9-32F811E93636}" srcOrd="2" destOrd="0" presId="urn:microsoft.com/office/officeart/2009/layout/CirclePictureHierarchy"/>
    <dgm:cxn modelId="{EE606125-6521-4828-AB06-B435C024DF3A}" type="presParOf" srcId="{93225F85-F571-4F15-8B2C-8BC81C5B109A}" destId="{4A7A3E44-0479-4C44-A521-63DD9C1F034C}" srcOrd="3" destOrd="0" presId="urn:microsoft.com/office/officeart/2009/layout/CirclePictureHierarchy"/>
    <dgm:cxn modelId="{7775103C-0C2D-4492-8067-5447BC104C2C}" type="presParOf" srcId="{4A7A3E44-0479-4C44-A521-63DD9C1F034C}" destId="{5EF34F2F-C759-4CA3-9571-839DF418397B}" srcOrd="0" destOrd="0" presId="urn:microsoft.com/office/officeart/2009/layout/CirclePictureHierarchy"/>
    <dgm:cxn modelId="{A087CC3F-5C65-4278-BCDD-C0541C4CA096}" type="presParOf" srcId="{5EF34F2F-C759-4CA3-9571-839DF418397B}" destId="{033F5BAC-0320-49A6-B954-A152EA86FCBD}" srcOrd="0" destOrd="0" presId="urn:microsoft.com/office/officeart/2009/layout/CirclePictureHierarchy"/>
    <dgm:cxn modelId="{78734439-1948-4AF2-95F3-DB2A46C5E9B1}" type="presParOf" srcId="{5EF34F2F-C759-4CA3-9571-839DF418397B}" destId="{1AE47C81-548F-4E9A-B22C-0E691682381B}" srcOrd="1" destOrd="0" presId="urn:microsoft.com/office/officeart/2009/layout/CirclePictureHierarchy"/>
    <dgm:cxn modelId="{A5B191DB-537F-437E-8013-533C1B27AE06}" type="presParOf" srcId="{4A7A3E44-0479-4C44-A521-63DD9C1F034C}" destId="{2C2F6CEF-9B34-4B8D-8691-C628A3208F05}" srcOrd="1" destOrd="0" presId="urn:microsoft.com/office/officeart/2009/layout/CirclePictureHierarchy"/>
    <dgm:cxn modelId="{0C070309-AC6A-44B9-A861-2377D409F2FA}" type="presParOf" srcId="{3569914C-5E47-4D2E-B0C9-1A86C7E520DC}" destId="{2D8F6ADC-F269-45A2-B7D0-BB75D3FCAA2E}" srcOrd="2" destOrd="0" presId="urn:microsoft.com/office/officeart/2009/layout/CirclePictureHierarchy"/>
    <dgm:cxn modelId="{8A12401E-8332-46EA-B0AC-7DA4E10067BF}" type="presParOf" srcId="{3569914C-5E47-4D2E-B0C9-1A86C7E520DC}" destId="{9EC6633B-2F1A-4427-8151-0BDBFFD0B343}" srcOrd="3" destOrd="0" presId="urn:microsoft.com/office/officeart/2009/layout/CirclePictureHierarchy"/>
    <dgm:cxn modelId="{B9D528B4-8AA3-4620-AC3A-3655FCACD815}" type="presParOf" srcId="{9EC6633B-2F1A-4427-8151-0BDBFFD0B343}" destId="{F686245F-1C53-44F0-944A-BECA912D619E}" srcOrd="0" destOrd="0" presId="urn:microsoft.com/office/officeart/2009/layout/CirclePictureHierarchy"/>
    <dgm:cxn modelId="{03072C08-2352-483E-853A-EAF02AD18F5D}" type="presParOf" srcId="{F686245F-1C53-44F0-944A-BECA912D619E}" destId="{8B6C7CB6-284C-45BB-B251-3C386A1CAA15}" srcOrd="0" destOrd="0" presId="urn:microsoft.com/office/officeart/2009/layout/CirclePictureHierarchy"/>
    <dgm:cxn modelId="{D330FF63-BCD3-40DE-903A-89A99C45DD88}" type="presParOf" srcId="{F686245F-1C53-44F0-944A-BECA912D619E}" destId="{64A31FC5-B569-41BB-9EEA-8A721975A567}" srcOrd="1" destOrd="0" presId="urn:microsoft.com/office/officeart/2009/layout/CirclePictureHierarchy"/>
    <dgm:cxn modelId="{E894596D-E2B8-4EA4-86B8-20D96EEAB0EF}" type="presParOf" srcId="{9EC6633B-2F1A-4427-8151-0BDBFFD0B343}" destId="{AF72EE1B-A5F3-41C3-9466-17E84F8669C5}" srcOrd="1" destOrd="0" presId="urn:microsoft.com/office/officeart/2009/layout/CirclePictureHierarchy"/>
    <dgm:cxn modelId="{7E42D221-0435-4A79-82DF-9769D7E98A45}" type="presParOf" srcId="{AF72EE1B-A5F3-41C3-9466-17E84F8669C5}" destId="{5B1ACCFC-574C-4116-811B-7F514A3FA134}" srcOrd="0" destOrd="0" presId="urn:microsoft.com/office/officeart/2009/layout/CirclePictureHierarchy"/>
    <dgm:cxn modelId="{06C8B7AB-A6D8-4769-9782-4DDE260BAAC2}" type="presParOf" srcId="{AF72EE1B-A5F3-41C3-9466-17E84F8669C5}" destId="{D32C4E96-3F49-4697-A48E-22F240613B28}" srcOrd="1" destOrd="0" presId="urn:microsoft.com/office/officeart/2009/layout/CirclePictureHierarchy"/>
    <dgm:cxn modelId="{A191630C-B993-441A-9366-B17B9E359D5B}" type="presParOf" srcId="{D32C4E96-3F49-4697-A48E-22F240613B28}" destId="{ABB89855-8F7D-4ECD-8E93-892BDB647CD9}" srcOrd="0" destOrd="0" presId="urn:microsoft.com/office/officeart/2009/layout/CirclePictureHierarchy"/>
    <dgm:cxn modelId="{B8746339-7FA0-4708-AF22-FD48524BB27E}" type="presParOf" srcId="{ABB89855-8F7D-4ECD-8E93-892BDB647CD9}" destId="{57E70CB2-FC35-49CA-9BCD-0D8BE8159DAC}" srcOrd="0" destOrd="0" presId="urn:microsoft.com/office/officeart/2009/layout/CirclePictureHierarchy"/>
    <dgm:cxn modelId="{0991ACCD-5752-4A98-A89D-357B6CB0774D}" type="presParOf" srcId="{ABB89855-8F7D-4ECD-8E93-892BDB647CD9}" destId="{FD3887F1-8C59-48B3-8424-087DC903993F}" srcOrd="1" destOrd="0" presId="urn:microsoft.com/office/officeart/2009/layout/CirclePictureHierarchy"/>
    <dgm:cxn modelId="{3071C157-54C4-49B0-8C3B-D55AED0C7E85}" type="presParOf" srcId="{D32C4E96-3F49-4697-A48E-22F240613B28}" destId="{E8B8E714-2BEC-4B2F-A6C1-0F6FB4A0AAF6}" srcOrd="1" destOrd="0" presId="urn:microsoft.com/office/officeart/2009/layout/CirclePicture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C423F9-5C8C-4ECD-8102-360B4A2DC007}" type="doc">
      <dgm:prSet loTypeId="urn:microsoft.com/office/officeart/2005/8/layout/hierarchy1" loCatId="hierarchy" qsTypeId="urn:microsoft.com/office/officeart/2005/8/quickstyle/simple3" qsCatId="simple" csTypeId="urn:microsoft.com/office/officeart/2005/8/colors/colorful1" csCatId="colorful" phldr="1"/>
      <dgm:spPr/>
      <dgm:t>
        <a:bodyPr/>
        <a:lstStyle/>
        <a:p>
          <a:endParaRPr lang="en-US"/>
        </a:p>
      </dgm:t>
    </dgm:pt>
    <dgm:pt modelId="{C15A4E07-9EAC-43D7-89F9-719B30B0527D}">
      <dgm:prSet phldrT="[Text]"/>
      <dgm:spPr/>
      <dgm:t>
        <a:bodyPr/>
        <a:lstStyle/>
        <a:p>
          <a:r>
            <a:rPr lang="en-US" dirty="0">
              <a:hlinkClick xmlns:r="http://schemas.openxmlformats.org/officeDocument/2006/relationships" r:id="rId1"/>
            </a:rPr>
            <a:t>Food products</a:t>
          </a:r>
          <a:endParaRPr lang="en-US" dirty="0"/>
        </a:p>
      </dgm:t>
    </dgm:pt>
    <dgm:pt modelId="{45C26DC0-D397-4385-85AB-443BD7ECDD8A}" type="parTrans" cxnId="{EF52CE8E-6CD3-4F98-9B35-72B573E16A3F}">
      <dgm:prSet/>
      <dgm:spPr/>
      <dgm:t>
        <a:bodyPr/>
        <a:lstStyle/>
        <a:p>
          <a:endParaRPr lang="en-US"/>
        </a:p>
      </dgm:t>
    </dgm:pt>
    <dgm:pt modelId="{1C54C9A1-FB0C-4828-A268-DB57DD9D0A5D}" type="sibTrans" cxnId="{EF52CE8E-6CD3-4F98-9B35-72B573E16A3F}">
      <dgm:prSet/>
      <dgm:spPr/>
      <dgm:t>
        <a:bodyPr/>
        <a:lstStyle/>
        <a:p>
          <a:endParaRPr lang="en-US"/>
        </a:p>
      </dgm:t>
    </dgm:pt>
    <dgm:pt modelId="{E4DAB0FA-36B7-45E2-8DB8-FBDA9A88378F}">
      <dgm:prSet phldrT="[Text]"/>
      <dgm:spPr/>
      <dgm:t>
        <a:bodyPr/>
        <a:lstStyle/>
        <a:p>
          <a:r>
            <a:rPr lang="en-US" b="0" i="0" dirty="0">
              <a:hlinkClick xmlns:r="http://schemas.openxmlformats.org/officeDocument/2006/relationships" r:id="rId2"/>
            </a:rPr>
            <a:t>Bottling plants</a:t>
          </a:r>
          <a:endParaRPr lang="en-US" dirty="0"/>
        </a:p>
      </dgm:t>
    </dgm:pt>
    <dgm:pt modelId="{9C590323-81E6-4384-A18D-36A457C5D7DF}" type="parTrans" cxnId="{E89E8993-CF1F-4641-A3D6-5E73F73AC978}">
      <dgm:prSet/>
      <dgm:spPr/>
      <dgm:t>
        <a:bodyPr/>
        <a:lstStyle/>
        <a:p>
          <a:endParaRPr lang="en-US"/>
        </a:p>
      </dgm:t>
    </dgm:pt>
    <dgm:pt modelId="{B3476088-29D8-493E-8478-AD07E7626B30}" type="sibTrans" cxnId="{E89E8993-CF1F-4641-A3D6-5E73F73AC978}">
      <dgm:prSet/>
      <dgm:spPr/>
      <dgm:t>
        <a:bodyPr/>
        <a:lstStyle/>
        <a:p>
          <a:endParaRPr lang="en-US"/>
        </a:p>
      </dgm:t>
    </dgm:pt>
    <dgm:pt modelId="{934C619C-A8FA-4CA8-B607-52E3BF47F356}">
      <dgm:prSet phldrT="[Text]"/>
      <dgm:spPr/>
      <dgm:t>
        <a:bodyPr/>
        <a:lstStyle/>
        <a:p>
          <a:r>
            <a:rPr lang="en-US" b="0" i="0" dirty="0">
              <a:hlinkClick xmlns:r="http://schemas.openxmlformats.org/officeDocument/2006/relationships" r:id="rId3"/>
            </a:rPr>
            <a:t>Fruit juices</a:t>
          </a:r>
          <a:endParaRPr lang="en-US" dirty="0"/>
        </a:p>
      </dgm:t>
    </dgm:pt>
    <dgm:pt modelId="{247506AE-8549-408E-9029-A3D737A095F6}" type="parTrans" cxnId="{480B9548-45B4-4B41-92BF-2FFB59A4835D}">
      <dgm:prSet/>
      <dgm:spPr/>
      <dgm:t>
        <a:bodyPr/>
        <a:lstStyle/>
        <a:p>
          <a:endParaRPr lang="en-US"/>
        </a:p>
      </dgm:t>
    </dgm:pt>
    <dgm:pt modelId="{842C332E-6393-4F01-9E5F-E7016E1E6494}" type="sibTrans" cxnId="{480B9548-45B4-4B41-92BF-2FFB59A4835D}">
      <dgm:prSet/>
      <dgm:spPr/>
      <dgm:t>
        <a:bodyPr/>
        <a:lstStyle/>
        <a:p>
          <a:endParaRPr lang="en-US"/>
        </a:p>
      </dgm:t>
    </dgm:pt>
    <dgm:pt modelId="{34EB5D9B-6601-4507-BD48-8C15AC1640CD}">
      <dgm:prSet phldrT="[Text]"/>
      <dgm:spPr/>
      <dgm:t>
        <a:bodyPr/>
        <a:lstStyle/>
        <a:p>
          <a:r>
            <a:rPr lang="en-US" dirty="0">
              <a:hlinkClick xmlns:r="http://schemas.openxmlformats.org/officeDocument/2006/relationships" r:id="rId4"/>
            </a:rPr>
            <a:t>Cocoa</a:t>
          </a:r>
          <a:endParaRPr lang="en-US" dirty="0"/>
        </a:p>
      </dgm:t>
    </dgm:pt>
    <dgm:pt modelId="{44D4A06A-A21D-4FAD-ADB8-BB87C50DA498}" type="parTrans" cxnId="{6E0B01B2-1748-41F1-B6A8-7961A4EA33C9}">
      <dgm:prSet/>
      <dgm:spPr/>
      <dgm:t>
        <a:bodyPr/>
        <a:lstStyle/>
        <a:p>
          <a:endParaRPr lang="en-US"/>
        </a:p>
      </dgm:t>
    </dgm:pt>
    <dgm:pt modelId="{BAD7E6D4-AB6D-4AAA-B03C-DE3A00CCB02F}" type="sibTrans" cxnId="{6E0B01B2-1748-41F1-B6A8-7961A4EA33C9}">
      <dgm:prSet/>
      <dgm:spPr/>
      <dgm:t>
        <a:bodyPr/>
        <a:lstStyle/>
        <a:p>
          <a:endParaRPr lang="en-US"/>
        </a:p>
      </dgm:t>
    </dgm:pt>
    <dgm:pt modelId="{FCE97F30-B74D-4D9E-92E3-441061D9D13D}">
      <dgm:prSet phldrT="[Text]"/>
      <dgm:spPr/>
      <dgm:t>
        <a:bodyPr/>
        <a:lstStyle/>
        <a:p>
          <a:r>
            <a:rPr lang="en-US" dirty="0">
              <a:hlinkClick xmlns:r="http://schemas.openxmlformats.org/officeDocument/2006/relationships" r:id="rId5"/>
            </a:rPr>
            <a:t>Dairy products</a:t>
          </a:r>
          <a:endParaRPr lang="en-US" dirty="0"/>
        </a:p>
      </dgm:t>
    </dgm:pt>
    <dgm:pt modelId="{6380150A-A44F-4830-8624-3686D59DDBEE}" type="parTrans" cxnId="{F8CCD2D0-E7F5-43BD-A564-45A95AF911DC}">
      <dgm:prSet/>
      <dgm:spPr/>
      <dgm:t>
        <a:bodyPr/>
        <a:lstStyle/>
        <a:p>
          <a:endParaRPr lang="en-US"/>
        </a:p>
      </dgm:t>
    </dgm:pt>
    <dgm:pt modelId="{01AFF85D-A3C0-440E-BAF6-10B72D0B2387}" type="sibTrans" cxnId="{F8CCD2D0-E7F5-43BD-A564-45A95AF911DC}">
      <dgm:prSet/>
      <dgm:spPr/>
      <dgm:t>
        <a:bodyPr/>
        <a:lstStyle/>
        <a:p>
          <a:endParaRPr lang="en-US"/>
        </a:p>
      </dgm:t>
    </dgm:pt>
    <dgm:pt modelId="{9668FAD7-024F-4424-A8D3-58C871AD8345}">
      <dgm:prSet phldrT="[Text]"/>
      <dgm:spPr/>
      <dgm:t>
        <a:bodyPr/>
        <a:lstStyle/>
        <a:p>
          <a:r>
            <a:rPr lang="en-US" b="0" i="0" dirty="0">
              <a:hlinkClick xmlns:r="http://schemas.openxmlformats.org/officeDocument/2006/relationships" r:id="rId6"/>
            </a:rPr>
            <a:t>Casein</a:t>
          </a:r>
          <a:endParaRPr lang="en-US" dirty="0"/>
        </a:p>
      </dgm:t>
    </dgm:pt>
    <dgm:pt modelId="{57F39931-6026-4F5F-90D4-91BCA84C23F2}" type="parTrans" cxnId="{23034E6C-8698-4B9D-AF68-A1CE3C37C044}">
      <dgm:prSet/>
      <dgm:spPr/>
      <dgm:t>
        <a:bodyPr/>
        <a:lstStyle/>
        <a:p>
          <a:endParaRPr lang="en-US"/>
        </a:p>
      </dgm:t>
    </dgm:pt>
    <dgm:pt modelId="{74F8BECE-29AB-45A1-9B63-D96C1E29D5A3}" type="sibTrans" cxnId="{23034E6C-8698-4B9D-AF68-A1CE3C37C044}">
      <dgm:prSet/>
      <dgm:spPr/>
      <dgm:t>
        <a:bodyPr/>
        <a:lstStyle/>
        <a:p>
          <a:endParaRPr lang="en-US"/>
        </a:p>
      </dgm:t>
    </dgm:pt>
    <dgm:pt modelId="{ABD5EB30-54B0-4364-AE53-F258DB56A9A7}" type="pres">
      <dgm:prSet presAssocID="{B1C423F9-5C8C-4ECD-8102-360B4A2DC007}" presName="hierChild1" presStyleCnt="0">
        <dgm:presLayoutVars>
          <dgm:chPref val="1"/>
          <dgm:dir/>
          <dgm:animOne val="branch"/>
          <dgm:animLvl val="lvl"/>
          <dgm:resizeHandles/>
        </dgm:presLayoutVars>
      </dgm:prSet>
      <dgm:spPr/>
    </dgm:pt>
    <dgm:pt modelId="{73CAD29C-608F-4EF5-855A-1EFB455C158B}" type="pres">
      <dgm:prSet presAssocID="{C15A4E07-9EAC-43D7-89F9-719B30B0527D}" presName="hierRoot1" presStyleCnt="0"/>
      <dgm:spPr/>
    </dgm:pt>
    <dgm:pt modelId="{9E8BB883-4BB9-4379-BF9D-A1E66621D40F}" type="pres">
      <dgm:prSet presAssocID="{C15A4E07-9EAC-43D7-89F9-719B30B0527D}" presName="composite" presStyleCnt="0"/>
      <dgm:spPr/>
    </dgm:pt>
    <dgm:pt modelId="{20F83DDA-5571-443D-AD4D-EE28D394E9F9}" type="pres">
      <dgm:prSet presAssocID="{C15A4E07-9EAC-43D7-89F9-719B30B0527D}" presName="background" presStyleLbl="node0" presStyleIdx="0" presStyleCnt="1"/>
      <dgm:spPr/>
    </dgm:pt>
    <dgm:pt modelId="{E53EFA5A-0328-4A0E-A9B0-E5A552E0A81F}" type="pres">
      <dgm:prSet presAssocID="{C15A4E07-9EAC-43D7-89F9-719B30B0527D}" presName="text" presStyleLbl="fgAcc0" presStyleIdx="0" presStyleCnt="1">
        <dgm:presLayoutVars>
          <dgm:chPref val="3"/>
        </dgm:presLayoutVars>
      </dgm:prSet>
      <dgm:spPr/>
    </dgm:pt>
    <dgm:pt modelId="{1CF7B677-7CA2-4FC2-B6F1-55FCC91B8C5C}" type="pres">
      <dgm:prSet presAssocID="{C15A4E07-9EAC-43D7-89F9-719B30B0527D}" presName="hierChild2" presStyleCnt="0"/>
      <dgm:spPr/>
    </dgm:pt>
    <dgm:pt modelId="{8AF99467-9660-4570-9D78-D3AD8DCAA4E0}" type="pres">
      <dgm:prSet presAssocID="{9C590323-81E6-4384-A18D-36A457C5D7DF}" presName="Name10" presStyleLbl="parChTrans1D2" presStyleIdx="0" presStyleCnt="2"/>
      <dgm:spPr/>
    </dgm:pt>
    <dgm:pt modelId="{BC0AB1C6-3278-4061-9002-23317EC603AD}" type="pres">
      <dgm:prSet presAssocID="{E4DAB0FA-36B7-45E2-8DB8-FBDA9A88378F}" presName="hierRoot2" presStyleCnt="0"/>
      <dgm:spPr/>
    </dgm:pt>
    <dgm:pt modelId="{AE0A4C20-6DF3-4EF8-BCCB-7857B08D6C11}" type="pres">
      <dgm:prSet presAssocID="{E4DAB0FA-36B7-45E2-8DB8-FBDA9A88378F}" presName="composite2" presStyleCnt="0"/>
      <dgm:spPr/>
    </dgm:pt>
    <dgm:pt modelId="{C1F01BB4-A8C1-42EA-AB27-AABCBD858EB1}" type="pres">
      <dgm:prSet presAssocID="{E4DAB0FA-36B7-45E2-8DB8-FBDA9A88378F}" presName="background2" presStyleLbl="node2" presStyleIdx="0" presStyleCnt="2"/>
      <dgm:spPr/>
    </dgm:pt>
    <dgm:pt modelId="{7C9C6CD0-0111-425A-B851-0B10C459CA24}" type="pres">
      <dgm:prSet presAssocID="{E4DAB0FA-36B7-45E2-8DB8-FBDA9A88378F}" presName="text2" presStyleLbl="fgAcc2" presStyleIdx="0" presStyleCnt="2">
        <dgm:presLayoutVars>
          <dgm:chPref val="3"/>
        </dgm:presLayoutVars>
      </dgm:prSet>
      <dgm:spPr/>
    </dgm:pt>
    <dgm:pt modelId="{2F278A54-E49D-4F4D-A594-051A4087E2CE}" type="pres">
      <dgm:prSet presAssocID="{E4DAB0FA-36B7-45E2-8DB8-FBDA9A88378F}" presName="hierChild3" presStyleCnt="0"/>
      <dgm:spPr/>
    </dgm:pt>
    <dgm:pt modelId="{D4D624F6-BC7C-4EE2-8BB4-85CC79CB3CE0}" type="pres">
      <dgm:prSet presAssocID="{247506AE-8549-408E-9029-A3D737A095F6}" presName="Name17" presStyleLbl="parChTrans1D3" presStyleIdx="0" presStyleCnt="3"/>
      <dgm:spPr/>
    </dgm:pt>
    <dgm:pt modelId="{84D30A0A-A976-4898-BE0D-DD0FE03B4949}" type="pres">
      <dgm:prSet presAssocID="{934C619C-A8FA-4CA8-B607-52E3BF47F356}" presName="hierRoot3" presStyleCnt="0"/>
      <dgm:spPr/>
    </dgm:pt>
    <dgm:pt modelId="{E5071A54-3CB7-44BD-B697-6D2EEDADF3C9}" type="pres">
      <dgm:prSet presAssocID="{934C619C-A8FA-4CA8-B607-52E3BF47F356}" presName="composite3" presStyleCnt="0"/>
      <dgm:spPr/>
    </dgm:pt>
    <dgm:pt modelId="{E40B5D00-41A6-4E85-A1A4-EB411CEC2053}" type="pres">
      <dgm:prSet presAssocID="{934C619C-A8FA-4CA8-B607-52E3BF47F356}" presName="background3" presStyleLbl="node3" presStyleIdx="0" presStyleCnt="3"/>
      <dgm:spPr/>
    </dgm:pt>
    <dgm:pt modelId="{EF680FC2-024F-4789-8B33-062EAD422D9F}" type="pres">
      <dgm:prSet presAssocID="{934C619C-A8FA-4CA8-B607-52E3BF47F356}" presName="text3" presStyleLbl="fgAcc3" presStyleIdx="0" presStyleCnt="3">
        <dgm:presLayoutVars>
          <dgm:chPref val="3"/>
        </dgm:presLayoutVars>
      </dgm:prSet>
      <dgm:spPr/>
    </dgm:pt>
    <dgm:pt modelId="{8C460E94-C3F2-4156-96C7-B0836F8161B7}" type="pres">
      <dgm:prSet presAssocID="{934C619C-A8FA-4CA8-B607-52E3BF47F356}" presName="hierChild4" presStyleCnt="0"/>
      <dgm:spPr/>
    </dgm:pt>
    <dgm:pt modelId="{6353BEDB-0AF2-43F3-9357-12BA6CF74717}" type="pres">
      <dgm:prSet presAssocID="{44D4A06A-A21D-4FAD-ADB8-BB87C50DA498}" presName="Name17" presStyleLbl="parChTrans1D3" presStyleIdx="1" presStyleCnt="3"/>
      <dgm:spPr/>
    </dgm:pt>
    <dgm:pt modelId="{1DE6EB84-4E3A-410C-87A0-CC829E8597F1}" type="pres">
      <dgm:prSet presAssocID="{34EB5D9B-6601-4507-BD48-8C15AC1640CD}" presName="hierRoot3" presStyleCnt="0"/>
      <dgm:spPr/>
    </dgm:pt>
    <dgm:pt modelId="{9E7C8F02-9C76-4411-87BD-0093EC2565AF}" type="pres">
      <dgm:prSet presAssocID="{34EB5D9B-6601-4507-BD48-8C15AC1640CD}" presName="composite3" presStyleCnt="0"/>
      <dgm:spPr/>
    </dgm:pt>
    <dgm:pt modelId="{0064DC7A-EB92-42A5-A74C-BB247CF3252F}" type="pres">
      <dgm:prSet presAssocID="{34EB5D9B-6601-4507-BD48-8C15AC1640CD}" presName="background3" presStyleLbl="node3" presStyleIdx="1" presStyleCnt="3"/>
      <dgm:spPr/>
    </dgm:pt>
    <dgm:pt modelId="{F0F64103-96A7-46A4-9BBD-170AAAC2BAAA}" type="pres">
      <dgm:prSet presAssocID="{34EB5D9B-6601-4507-BD48-8C15AC1640CD}" presName="text3" presStyleLbl="fgAcc3" presStyleIdx="1" presStyleCnt="3">
        <dgm:presLayoutVars>
          <dgm:chPref val="3"/>
        </dgm:presLayoutVars>
      </dgm:prSet>
      <dgm:spPr/>
    </dgm:pt>
    <dgm:pt modelId="{953AE4DE-7A78-43DD-B345-D3BBC1D184F3}" type="pres">
      <dgm:prSet presAssocID="{34EB5D9B-6601-4507-BD48-8C15AC1640CD}" presName="hierChild4" presStyleCnt="0"/>
      <dgm:spPr/>
    </dgm:pt>
    <dgm:pt modelId="{BD3AE9B5-30C6-49E0-BD70-F5B2365A35EF}" type="pres">
      <dgm:prSet presAssocID="{6380150A-A44F-4830-8624-3686D59DDBEE}" presName="Name10" presStyleLbl="parChTrans1D2" presStyleIdx="1" presStyleCnt="2"/>
      <dgm:spPr/>
    </dgm:pt>
    <dgm:pt modelId="{934CB1EA-1887-4236-9C18-62F901DEC606}" type="pres">
      <dgm:prSet presAssocID="{FCE97F30-B74D-4D9E-92E3-441061D9D13D}" presName="hierRoot2" presStyleCnt="0"/>
      <dgm:spPr/>
    </dgm:pt>
    <dgm:pt modelId="{163DCD3D-4780-4B3D-ABDE-A8099441089A}" type="pres">
      <dgm:prSet presAssocID="{FCE97F30-B74D-4D9E-92E3-441061D9D13D}" presName="composite2" presStyleCnt="0"/>
      <dgm:spPr/>
    </dgm:pt>
    <dgm:pt modelId="{D9B2312B-DC06-443A-B922-5F08C102E23E}" type="pres">
      <dgm:prSet presAssocID="{FCE97F30-B74D-4D9E-92E3-441061D9D13D}" presName="background2" presStyleLbl="node2" presStyleIdx="1" presStyleCnt="2"/>
      <dgm:spPr/>
    </dgm:pt>
    <dgm:pt modelId="{6520B116-01D0-48C6-A3FC-5F44EB96221A}" type="pres">
      <dgm:prSet presAssocID="{FCE97F30-B74D-4D9E-92E3-441061D9D13D}" presName="text2" presStyleLbl="fgAcc2" presStyleIdx="1" presStyleCnt="2">
        <dgm:presLayoutVars>
          <dgm:chPref val="3"/>
        </dgm:presLayoutVars>
      </dgm:prSet>
      <dgm:spPr/>
    </dgm:pt>
    <dgm:pt modelId="{6D6508B8-130A-4568-B070-D5C3C42B231A}" type="pres">
      <dgm:prSet presAssocID="{FCE97F30-B74D-4D9E-92E3-441061D9D13D}" presName="hierChild3" presStyleCnt="0"/>
      <dgm:spPr/>
    </dgm:pt>
    <dgm:pt modelId="{95A39B58-2415-42F8-8B69-361E524FAD1E}" type="pres">
      <dgm:prSet presAssocID="{57F39931-6026-4F5F-90D4-91BCA84C23F2}" presName="Name17" presStyleLbl="parChTrans1D3" presStyleIdx="2" presStyleCnt="3"/>
      <dgm:spPr/>
    </dgm:pt>
    <dgm:pt modelId="{E7A5C1B0-B76F-4B9C-8203-E8C90D7DDCFD}" type="pres">
      <dgm:prSet presAssocID="{9668FAD7-024F-4424-A8D3-58C871AD8345}" presName="hierRoot3" presStyleCnt="0"/>
      <dgm:spPr/>
    </dgm:pt>
    <dgm:pt modelId="{396FC455-BE9B-476F-BEE1-56D28739F1BB}" type="pres">
      <dgm:prSet presAssocID="{9668FAD7-024F-4424-A8D3-58C871AD8345}" presName="composite3" presStyleCnt="0"/>
      <dgm:spPr/>
    </dgm:pt>
    <dgm:pt modelId="{54A96C36-5C21-44C6-92F2-45C7E5D29EF2}" type="pres">
      <dgm:prSet presAssocID="{9668FAD7-024F-4424-A8D3-58C871AD8345}" presName="background3" presStyleLbl="node3" presStyleIdx="2" presStyleCnt="3"/>
      <dgm:spPr/>
    </dgm:pt>
    <dgm:pt modelId="{3C736999-C5A5-4376-AD6D-7918B4944C59}" type="pres">
      <dgm:prSet presAssocID="{9668FAD7-024F-4424-A8D3-58C871AD8345}" presName="text3" presStyleLbl="fgAcc3" presStyleIdx="2" presStyleCnt="3">
        <dgm:presLayoutVars>
          <dgm:chPref val="3"/>
        </dgm:presLayoutVars>
      </dgm:prSet>
      <dgm:spPr/>
    </dgm:pt>
    <dgm:pt modelId="{638CBF86-C9A9-4114-B429-EB39AE4CBD08}" type="pres">
      <dgm:prSet presAssocID="{9668FAD7-024F-4424-A8D3-58C871AD8345}" presName="hierChild4" presStyleCnt="0"/>
      <dgm:spPr/>
    </dgm:pt>
  </dgm:ptLst>
  <dgm:cxnLst>
    <dgm:cxn modelId="{D2576F00-7056-4DB8-9D22-941E0AD48B24}" type="presOf" srcId="{6380150A-A44F-4830-8624-3686D59DDBEE}" destId="{BD3AE9B5-30C6-49E0-BD70-F5B2365A35EF}" srcOrd="0" destOrd="0" presId="urn:microsoft.com/office/officeart/2005/8/layout/hierarchy1"/>
    <dgm:cxn modelId="{B3416E03-ADED-4464-A4DC-BC9F1E17D060}" type="presOf" srcId="{247506AE-8549-408E-9029-A3D737A095F6}" destId="{D4D624F6-BC7C-4EE2-8BB4-85CC79CB3CE0}" srcOrd="0" destOrd="0" presId="urn:microsoft.com/office/officeart/2005/8/layout/hierarchy1"/>
    <dgm:cxn modelId="{480B9548-45B4-4B41-92BF-2FFB59A4835D}" srcId="{E4DAB0FA-36B7-45E2-8DB8-FBDA9A88378F}" destId="{934C619C-A8FA-4CA8-B607-52E3BF47F356}" srcOrd="0" destOrd="0" parTransId="{247506AE-8549-408E-9029-A3D737A095F6}" sibTransId="{842C332E-6393-4F01-9E5F-E7016E1E6494}"/>
    <dgm:cxn modelId="{23034E6C-8698-4B9D-AF68-A1CE3C37C044}" srcId="{FCE97F30-B74D-4D9E-92E3-441061D9D13D}" destId="{9668FAD7-024F-4424-A8D3-58C871AD8345}" srcOrd="0" destOrd="0" parTransId="{57F39931-6026-4F5F-90D4-91BCA84C23F2}" sibTransId="{74F8BECE-29AB-45A1-9B63-D96C1E29D5A3}"/>
    <dgm:cxn modelId="{DCD49154-545D-444D-AA93-A3BFEC22FEBA}" type="presOf" srcId="{FCE97F30-B74D-4D9E-92E3-441061D9D13D}" destId="{6520B116-01D0-48C6-A3FC-5F44EB96221A}" srcOrd="0" destOrd="0" presId="urn:microsoft.com/office/officeart/2005/8/layout/hierarchy1"/>
    <dgm:cxn modelId="{C4975E81-484F-491D-BD18-3AFC59D4D768}" type="presOf" srcId="{C15A4E07-9EAC-43D7-89F9-719B30B0527D}" destId="{E53EFA5A-0328-4A0E-A9B0-E5A552E0A81F}" srcOrd="0" destOrd="0" presId="urn:microsoft.com/office/officeart/2005/8/layout/hierarchy1"/>
    <dgm:cxn modelId="{2BC32F82-0715-4ECE-8B8A-4C27A8AE0B0F}" type="presOf" srcId="{934C619C-A8FA-4CA8-B607-52E3BF47F356}" destId="{EF680FC2-024F-4789-8B33-062EAD422D9F}" srcOrd="0" destOrd="0" presId="urn:microsoft.com/office/officeart/2005/8/layout/hierarchy1"/>
    <dgm:cxn modelId="{8700658D-2011-4A05-9A75-696EADBCBC5A}" type="presOf" srcId="{B1C423F9-5C8C-4ECD-8102-360B4A2DC007}" destId="{ABD5EB30-54B0-4364-AE53-F258DB56A9A7}" srcOrd="0" destOrd="0" presId="urn:microsoft.com/office/officeart/2005/8/layout/hierarchy1"/>
    <dgm:cxn modelId="{EF52CE8E-6CD3-4F98-9B35-72B573E16A3F}" srcId="{B1C423F9-5C8C-4ECD-8102-360B4A2DC007}" destId="{C15A4E07-9EAC-43D7-89F9-719B30B0527D}" srcOrd="0" destOrd="0" parTransId="{45C26DC0-D397-4385-85AB-443BD7ECDD8A}" sibTransId="{1C54C9A1-FB0C-4828-A268-DB57DD9D0A5D}"/>
    <dgm:cxn modelId="{E89E8993-CF1F-4641-A3D6-5E73F73AC978}" srcId="{C15A4E07-9EAC-43D7-89F9-719B30B0527D}" destId="{E4DAB0FA-36B7-45E2-8DB8-FBDA9A88378F}" srcOrd="0" destOrd="0" parTransId="{9C590323-81E6-4384-A18D-36A457C5D7DF}" sibTransId="{B3476088-29D8-493E-8478-AD07E7626B30}"/>
    <dgm:cxn modelId="{89BD9E9E-E4D2-4DF1-9938-2656FAC714BE}" type="presOf" srcId="{E4DAB0FA-36B7-45E2-8DB8-FBDA9A88378F}" destId="{7C9C6CD0-0111-425A-B851-0B10C459CA24}" srcOrd="0" destOrd="0" presId="urn:microsoft.com/office/officeart/2005/8/layout/hierarchy1"/>
    <dgm:cxn modelId="{C9FD6FA2-C93A-4E18-B74E-0B573C81024F}" type="presOf" srcId="{9C590323-81E6-4384-A18D-36A457C5D7DF}" destId="{8AF99467-9660-4570-9D78-D3AD8DCAA4E0}" srcOrd="0" destOrd="0" presId="urn:microsoft.com/office/officeart/2005/8/layout/hierarchy1"/>
    <dgm:cxn modelId="{6E0B01B2-1748-41F1-B6A8-7961A4EA33C9}" srcId="{E4DAB0FA-36B7-45E2-8DB8-FBDA9A88378F}" destId="{34EB5D9B-6601-4507-BD48-8C15AC1640CD}" srcOrd="1" destOrd="0" parTransId="{44D4A06A-A21D-4FAD-ADB8-BB87C50DA498}" sibTransId="{BAD7E6D4-AB6D-4AAA-B03C-DE3A00CCB02F}"/>
    <dgm:cxn modelId="{0724CCC0-9251-4DAD-9648-1FB3D8ACA0A8}" type="presOf" srcId="{57F39931-6026-4F5F-90D4-91BCA84C23F2}" destId="{95A39B58-2415-42F8-8B69-361E524FAD1E}" srcOrd="0" destOrd="0" presId="urn:microsoft.com/office/officeart/2005/8/layout/hierarchy1"/>
    <dgm:cxn modelId="{41D8B0C7-FBDF-4068-B79F-0BCBE3DD2096}" type="presOf" srcId="{34EB5D9B-6601-4507-BD48-8C15AC1640CD}" destId="{F0F64103-96A7-46A4-9BBD-170AAAC2BAAA}" srcOrd="0" destOrd="0" presId="urn:microsoft.com/office/officeart/2005/8/layout/hierarchy1"/>
    <dgm:cxn modelId="{F8CCD2D0-E7F5-43BD-A564-45A95AF911DC}" srcId="{C15A4E07-9EAC-43D7-89F9-719B30B0527D}" destId="{FCE97F30-B74D-4D9E-92E3-441061D9D13D}" srcOrd="1" destOrd="0" parTransId="{6380150A-A44F-4830-8624-3686D59DDBEE}" sibTransId="{01AFF85D-A3C0-440E-BAF6-10B72D0B2387}"/>
    <dgm:cxn modelId="{4EFA8ED6-9F8F-47C6-B21B-AC4C436DB37C}" type="presOf" srcId="{44D4A06A-A21D-4FAD-ADB8-BB87C50DA498}" destId="{6353BEDB-0AF2-43F3-9357-12BA6CF74717}" srcOrd="0" destOrd="0" presId="urn:microsoft.com/office/officeart/2005/8/layout/hierarchy1"/>
    <dgm:cxn modelId="{A897C5FE-1776-429F-AFB4-8A20FA88E13E}" type="presOf" srcId="{9668FAD7-024F-4424-A8D3-58C871AD8345}" destId="{3C736999-C5A5-4376-AD6D-7918B4944C59}" srcOrd="0" destOrd="0" presId="urn:microsoft.com/office/officeart/2005/8/layout/hierarchy1"/>
    <dgm:cxn modelId="{5EBF6785-0469-4B99-9CCE-A3CABF04B466}" type="presParOf" srcId="{ABD5EB30-54B0-4364-AE53-F258DB56A9A7}" destId="{73CAD29C-608F-4EF5-855A-1EFB455C158B}" srcOrd="0" destOrd="0" presId="urn:microsoft.com/office/officeart/2005/8/layout/hierarchy1"/>
    <dgm:cxn modelId="{524300B5-8C40-429F-AD7D-FD841756CEE7}" type="presParOf" srcId="{73CAD29C-608F-4EF5-855A-1EFB455C158B}" destId="{9E8BB883-4BB9-4379-BF9D-A1E66621D40F}" srcOrd="0" destOrd="0" presId="urn:microsoft.com/office/officeart/2005/8/layout/hierarchy1"/>
    <dgm:cxn modelId="{BFA36B2E-2E54-4CB9-9081-DA65DA9B1536}" type="presParOf" srcId="{9E8BB883-4BB9-4379-BF9D-A1E66621D40F}" destId="{20F83DDA-5571-443D-AD4D-EE28D394E9F9}" srcOrd="0" destOrd="0" presId="urn:microsoft.com/office/officeart/2005/8/layout/hierarchy1"/>
    <dgm:cxn modelId="{0BA1FB6E-9B01-4408-883C-8022C14AC212}" type="presParOf" srcId="{9E8BB883-4BB9-4379-BF9D-A1E66621D40F}" destId="{E53EFA5A-0328-4A0E-A9B0-E5A552E0A81F}" srcOrd="1" destOrd="0" presId="urn:microsoft.com/office/officeart/2005/8/layout/hierarchy1"/>
    <dgm:cxn modelId="{57409BD6-8709-4325-8667-6B2680EE8C78}" type="presParOf" srcId="{73CAD29C-608F-4EF5-855A-1EFB455C158B}" destId="{1CF7B677-7CA2-4FC2-B6F1-55FCC91B8C5C}" srcOrd="1" destOrd="0" presId="urn:microsoft.com/office/officeart/2005/8/layout/hierarchy1"/>
    <dgm:cxn modelId="{9528BEDA-DD52-4713-80AD-2B0B573B12A2}" type="presParOf" srcId="{1CF7B677-7CA2-4FC2-B6F1-55FCC91B8C5C}" destId="{8AF99467-9660-4570-9D78-D3AD8DCAA4E0}" srcOrd="0" destOrd="0" presId="urn:microsoft.com/office/officeart/2005/8/layout/hierarchy1"/>
    <dgm:cxn modelId="{82BA2F1A-AF75-4E01-847F-D403980DB5D2}" type="presParOf" srcId="{1CF7B677-7CA2-4FC2-B6F1-55FCC91B8C5C}" destId="{BC0AB1C6-3278-4061-9002-23317EC603AD}" srcOrd="1" destOrd="0" presId="urn:microsoft.com/office/officeart/2005/8/layout/hierarchy1"/>
    <dgm:cxn modelId="{8A336884-D9B3-4C8F-A71F-2182EE96F877}" type="presParOf" srcId="{BC0AB1C6-3278-4061-9002-23317EC603AD}" destId="{AE0A4C20-6DF3-4EF8-BCCB-7857B08D6C11}" srcOrd="0" destOrd="0" presId="urn:microsoft.com/office/officeart/2005/8/layout/hierarchy1"/>
    <dgm:cxn modelId="{A918B01E-E7D9-41B1-85F4-27F3E4B7FEB7}" type="presParOf" srcId="{AE0A4C20-6DF3-4EF8-BCCB-7857B08D6C11}" destId="{C1F01BB4-A8C1-42EA-AB27-AABCBD858EB1}" srcOrd="0" destOrd="0" presId="urn:microsoft.com/office/officeart/2005/8/layout/hierarchy1"/>
    <dgm:cxn modelId="{BA8B71D3-F69B-4C10-9C1E-896CECCF4D2E}" type="presParOf" srcId="{AE0A4C20-6DF3-4EF8-BCCB-7857B08D6C11}" destId="{7C9C6CD0-0111-425A-B851-0B10C459CA24}" srcOrd="1" destOrd="0" presId="urn:microsoft.com/office/officeart/2005/8/layout/hierarchy1"/>
    <dgm:cxn modelId="{3944A49D-6FC1-4AF7-9617-8B3FD321C776}" type="presParOf" srcId="{BC0AB1C6-3278-4061-9002-23317EC603AD}" destId="{2F278A54-E49D-4F4D-A594-051A4087E2CE}" srcOrd="1" destOrd="0" presId="urn:microsoft.com/office/officeart/2005/8/layout/hierarchy1"/>
    <dgm:cxn modelId="{3BBE6308-D08D-429C-B674-81C2BA2B8501}" type="presParOf" srcId="{2F278A54-E49D-4F4D-A594-051A4087E2CE}" destId="{D4D624F6-BC7C-4EE2-8BB4-85CC79CB3CE0}" srcOrd="0" destOrd="0" presId="urn:microsoft.com/office/officeart/2005/8/layout/hierarchy1"/>
    <dgm:cxn modelId="{36E2AA8E-C5BE-4350-99D6-B365EE40081E}" type="presParOf" srcId="{2F278A54-E49D-4F4D-A594-051A4087E2CE}" destId="{84D30A0A-A976-4898-BE0D-DD0FE03B4949}" srcOrd="1" destOrd="0" presId="urn:microsoft.com/office/officeart/2005/8/layout/hierarchy1"/>
    <dgm:cxn modelId="{B8570917-0056-4C72-AF57-0368BFB62618}" type="presParOf" srcId="{84D30A0A-A976-4898-BE0D-DD0FE03B4949}" destId="{E5071A54-3CB7-44BD-B697-6D2EEDADF3C9}" srcOrd="0" destOrd="0" presId="urn:microsoft.com/office/officeart/2005/8/layout/hierarchy1"/>
    <dgm:cxn modelId="{149FECED-2451-42C5-BFA9-CCD86408EC7C}" type="presParOf" srcId="{E5071A54-3CB7-44BD-B697-6D2EEDADF3C9}" destId="{E40B5D00-41A6-4E85-A1A4-EB411CEC2053}" srcOrd="0" destOrd="0" presId="urn:microsoft.com/office/officeart/2005/8/layout/hierarchy1"/>
    <dgm:cxn modelId="{2F94D9E9-0F6D-4EDE-B5EE-746863C3F661}" type="presParOf" srcId="{E5071A54-3CB7-44BD-B697-6D2EEDADF3C9}" destId="{EF680FC2-024F-4789-8B33-062EAD422D9F}" srcOrd="1" destOrd="0" presId="urn:microsoft.com/office/officeart/2005/8/layout/hierarchy1"/>
    <dgm:cxn modelId="{771F39FB-4E1D-4B21-868B-BB4CA4098DCA}" type="presParOf" srcId="{84D30A0A-A976-4898-BE0D-DD0FE03B4949}" destId="{8C460E94-C3F2-4156-96C7-B0836F8161B7}" srcOrd="1" destOrd="0" presId="urn:microsoft.com/office/officeart/2005/8/layout/hierarchy1"/>
    <dgm:cxn modelId="{FF0BA7B0-6C57-4CE4-8D44-73526FF67306}" type="presParOf" srcId="{2F278A54-E49D-4F4D-A594-051A4087E2CE}" destId="{6353BEDB-0AF2-43F3-9357-12BA6CF74717}" srcOrd="2" destOrd="0" presId="urn:microsoft.com/office/officeart/2005/8/layout/hierarchy1"/>
    <dgm:cxn modelId="{83C3CBCD-0C87-4BDA-BCA3-7D5C5B370854}" type="presParOf" srcId="{2F278A54-E49D-4F4D-A594-051A4087E2CE}" destId="{1DE6EB84-4E3A-410C-87A0-CC829E8597F1}" srcOrd="3" destOrd="0" presId="urn:microsoft.com/office/officeart/2005/8/layout/hierarchy1"/>
    <dgm:cxn modelId="{A26F223E-3E75-4A73-84DC-3B1CF8BE3299}" type="presParOf" srcId="{1DE6EB84-4E3A-410C-87A0-CC829E8597F1}" destId="{9E7C8F02-9C76-4411-87BD-0093EC2565AF}" srcOrd="0" destOrd="0" presId="urn:microsoft.com/office/officeart/2005/8/layout/hierarchy1"/>
    <dgm:cxn modelId="{3B4031D1-9EB2-4638-827E-CC6ECF71F93E}" type="presParOf" srcId="{9E7C8F02-9C76-4411-87BD-0093EC2565AF}" destId="{0064DC7A-EB92-42A5-A74C-BB247CF3252F}" srcOrd="0" destOrd="0" presId="urn:microsoft.com/office/officeart/2005/8/layout/hierarchy1"/>
    <dgm:cxn modelId="{3B0BBD31-8C3B-43CB-BD20-5741537EA8EA}" type="presParOf" srcId="{9E7C8F02-9C76-4411-87BD-0093EC2565AF}" destId="{F0F64103-96A7-46A4-9BBD-170AAAC2BAAA}" srcOrd="1" destOrd="0" presId="urn:microsoft.com/office/officeart/2005/8/layout/hierarchy1"/>
    <dgm:cxn modelId="{4F6E0F3A-AAC0-47B1-BCB4-1DF03126A003}" type="presParOf" srcId="{1DE6EB84-4E3A-410C-87A0-CC829E8597F1}" destId="{953AE4DE-7A78-43DD-B345-D3BBC1D184F3}" srcOrd="1" destOrd="0" presId="urn:microsoft.com/office/officeart/2005/8/layout/hierarchy1"/>
    <dgm:cxn modelId="{E7E2EE5D-F98C-42CE-93C1-CD4E3F8FDD5C}" type="presParOf" srcId="{1CF7B677-7CA2-4FC2-B6F1-55FCC91B8C5C}" destId="{BD3AE9B5-30C6-49E0-BD70-F5B2365A35EF}" srcOrd="2" destOrd="0" presId="urn:microsoft.com/office/officeart/2005/8/layout/hierarchy1"/>
    <dgm:cxn modelId="{89E73594-1D71-40E5-996C-C6C057E8DAA3}" type="presParOf" srcId="{1CF7B677-7CA2-4FC2-B6F1-55FCC91B8C5C}" destId="{934CB1EA-1887-4236-9C18-62F901DEC606}" srcOrd="3" destOrd="0" presId="urn:microsoft.com/office/officeart/2005/8/layout/hierarchy1"/>
    <dgm:cxn modelId="{4503A87D-4DCE-4DB3-A47E-EB2C4A61F685}" type="presParOf" srcId="{934CB1EA-1887-4236-9C18-62F901DEC606}" destId="{163DCD3D-4780-4B3D-ABDE-A8099441089A}" srcOrd="0" destOrd="0" presId="urn:microsoft.com/office/officeart/2005/8/layout/hierarchy1"/>
    <dgm:cxn modelId="{6A9B81D5-D332-4FBE-AABD-02D4C0319E8A}" type="presParOf" srcId="{163DCD3D-4780-4B3D-ABDE-A8099441089A}" destId="{D9B2312B-DC06-443A-B922-5F08C102E23E}" srcOrd="0" destOrd="0" presId="urn:microsoft.com/office/officeart/2005/8/layout/hierarchy1"/>
    <dgm:cxn modelId="{40406E1F-65AB-4E4E-9609-7B2B1C1649A6}" type="presParOf" srcId="{163DCD3D-4780-4B3D-ABDE-A8099441089A}" destId="{6520B116-01D0-48C6-A3FC-5F44EB96221A}" srcOrd="1" destOrd="0" presId="urn:microsoft.com/office/officeart/2005/8/layout/hierarchy1"/>
    <dgm:cxn modelId="{3802B849-4E8E-4E06-8953-A4FBA325361B}" type="presParOf" srcId="{934CB1EA-1887-4236-9C18-62F901DEC606}" destId="{6D6508B8-130A-4568-B070-D5C3C42B231A}" srcOrd="1" destOrd="0" presId="urn:microsoft.com/office/officeart/2005/8/layout/hierarchy1"/>
    <dgm:cxn modelId="{8F3B5717-521C-4921-B5DB-74B0F60C7AC1}" type="presParOf" srcId="{6D6508B8-130A-4568-B070-D5C3C42B231A}" destId="{95A39B58-2415-42F8-8B69-361E524FAD1E}" srcOrd="0" destOrd="0" presId="urn:microsoft.com/office/officeart/2005/8/layout/hierarchy1"/>
    <dgm:cxn modelId="{10A2753E-6EF7-4BF1-AC24-C49AF91D1BBC}" type="presParOf" srcId="{6D6508B8-130A-4568-B070-D5C3C42B231A}" destId="{E7A5C1B0-B76F-4B9C-8203-E8C90D7DDCFD}" srcOrd="1" destOrd="0" presId="urn:microsoft.com/office/officeart/2005/8/layout/hierarchy1"/>
    <dgm:cxn modelId="{8DB7154F-85C7-4A4A-A6CF-61F8C49C712D}" type="presParOf" srcId="{E7A5C1B0-B76F-4B9C-8203-E8C90D7DDCFD}" destId="{396FC455-BE9B-476F-BEE1-56D28739F1BB}" srcOrd="0" destOrd="0" presId="urn:microsoft.com/office/officeart/2005/8/layout/hierarchy1"/>
    <dgm:cxn modelId="{1EF64B46-7A4D-4729-8642-410E61ED0552}" type="presParOf" srcId="{396FC455-BE9B-476F-BEE1-56D28739F1BB}" destId="{54A96C36-5C21-44C6-92F2-45C7E5D29EF2}" srcOrd="0" destOrd="0" presId="urn:microsoft.com/office/officeart/2005/8/layout/hierarchy1"/>
    <dgm:cxn modelId="{7342CD79-79CC-4069-8E71-646E16BC3436}" type="presParOf" srcId="{396FC455-BE9B-476F-BEE1-56D28739F1BB}" destId="{3C736999-C5A5-4376-AD6D-7918B4944C59}" srcOrd="1" destOrd="0" presId="urn:microsoft.com/office/officeart/2005/8/layout/hierarchy1"/>
    <dgm:cxn modelId="{7A9DD044-8F27-4A81-8FBC-7C70039C80FA}" type="presParOf" srcId="{E7A5C1B0-B76F-4B9C-8203-E8C90D7DDCFD}" destId="{638CBF86-C9A9-4114-B429-EB39AE4CBD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887038-B9BB-48D9-AFF9-93634A71C46D}">
      <dsp:nvSpPr>
        <dsp:cNvPr id="0" name=""/>
        <dsp:cNvSpPr/>
      </dsp:nvSpPr>
      <dsp:spPr>
        <a:xfrm>
          <a:off x="392048" y="1541"/>
          <a:ext cx="3187794" cy="407187"/>
        </a:xfrm>
        <a:prstGeom prst="roundRect">
          <a:avLst>
            <a:gd name="adj" fmla="val 1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t>导师给定方向后</a:t>
          </a:r>
          <a:r>
            <a:rPr lang="zh-CN" altLang="en-US" sz="1600" b="1" kern="1200" dirty="0">
              <a:solidFill>
                <a:srgbClr val="FF0000"/>
              </a:solidFill>
            </a:rPr>
            <a:t>泛调研</a:t>
          </a:r>
          <a:endParaRPr lang="en-US" sz="1600" b="1" kern="1200" dirty="0">
            <a:solidFill>
              <a:srgbClr val="FF0000"/>
            </a:solidFill>
          </a:endParaRPr>
        </a:p>
      </dsp:txBody>
      <dsp:txXfrm>
        <a:off x="403974" y="13467"/>
        <a:ext cx="3163942" cy="383335"/>
      </dsp:txXfrm>
    </dsp:sp>
    <dsp:sp modelId="{C0831717-FC20-4947-B4AA-6FB9ABB589E8}">
      <dsp:nvSpPr>
        <dsp:cNvPr id="0" name=""/>
        <dsp:cNvSpPr/>
      </dsp:nvSpPr>
      <dsp:spPr>
        <a:xfrm>
          <a:off x="710827" y="408728"/>
          <a:ext cx="318779" cy="567831"/>
        </a:xfrm>
        <a:custGeom>
          <a:avLst/>
          <a:gdLst/>
          <a:ahLst/>
          <a:cxnLst/>
          <a:rect l="0" t="0" r="0" b="0"/>
          <a:pathLst>
            <a:path>
              <a:moveTo>
                <a:pt x="0" y="0"/>
              </a:moveTo>
              <a:lnTo>
                <a:pt x="0" y="567831"/>
              </a:lnTo>
              <a:lnTo>
                <a:pt x="318779" y="56783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59178C-A6FC-4D6D-BC7B-CFFD542F1462}">
      <dsp:nvSpPr>
        <dsp:cNvPr id="0" name=""/>
        <dsp:cNvSpPr/>
      </dsp:nvSpPr>
      <dsp:spPr>
        <a:xfrm>
          <a:off x="1029607" y="583550"/>
          <a:ext cx="2648863" cy="786018"/>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solidFill>
                <a:srgbClr val="FF0000"/>
              </a:solidFill>
            </a:rPr>
            <a:t>收集</a:t>
          </a:r>
          <a:r>
            <a:rPr lang="zh-CN" altLang="en-US" sz="1600" kern="1200" dirty="0"/>
            <a:t>该领域的综述文献、博士学位论文；重点利用本领域经典或综述文集数据库</a:t>
          </a:r>
          <a:endParaRPr lang="en-US" sz="1600" kern="1200" dirty="0"/>
        </a:p>
      </dsp:txBody>
      <dsp:txXfrm>
        <a:off x="1052629" y="606572"/>
        <a:ext cx="2602819" cy="739974"/>
      </dsp:txXfrm>
    </dsp:sp>
    <dsp:sp modelId="{646EE11A-94B5-4D72-9F81-F1045B08B556}">
      <dsp:nvSpPr>
        <dsp:cNvPr id="0" name=""/>
        <dsp:cNvSpPr/>
      </dsp:nvSpPr>
      <dsp:spPr>
        <a:xfrm>
          <a:off x="710827" y="408728"/>
          <a:ext cx="318779" cy="1485305"/>
        </a:xfrm>
        <a:custGeom>
          <a:avLst/>
          <a:gdLst/>
          <a:ahLst/>
          <a:cxnLst/>
          <a:rect l="0" t="0" r="0" b="0"/>
          <a:pathLst>
            <a:path>
              <a:moveTo>
                <a:pt x="0" y="0"/>
              </a:moveTo>
              <a:lnTo>
                <a:pt x="0" y="1485305"/>
              </a:lnTo>
              <a:lnTo>
                <a:pt x="318779" y="1485305"/>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7547F8-E22A-4685-BBD7-0DB532E58127}">
      <dsp:nvSpPr>
        <dsp:cNvPr id="0" name=""/>
        <dsp:cNvSpPr/>
      </dsp:nvSpPr>
      <dsp:spPr>
        <a:xfrm>
          <a:off x="1029607" y="1544390"/>
          <a:ext cx="2686602" cy="69928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重点阅读</a:t>
          </a:r>
          <a:r>
            <a:rPr lang="zh-CN" altLang="en-US" sz="1400" b="1" kern="1200" dirty="0">
              <a:solidFill>
                <a:srgbClr val="FF0000"/>
              </a:solidFill>
            </a:rPr>
            <a:t>英文综述</a:t>
          </a:r>
          <a:r>
            <a:rPr lang="zh-CN" altLang="en-US" sz="1400" kern="1200" dirty="0"/>
            <a:t>或研究论文标题、摘要：了解</a:t>
          </a:r>
          <a:r>
            <a:rPr lang="zh-CN" altLang="en-US" sz="1400" b="1" kern="1200" dirty="0">
              <a:solidFill>
                <a:srgbClr val="FF0000"/>
              </a:solidFill>
            </a:rPr>
            <a:t>前沿、难点、创新点</a:t>
          </a:r>
          <a:r>
            <a:rPr lang="zh-CN" altLang="en-US" sz="1400" kern="1200" dirty="0"/>
            <a:t>、并收集</a:t>
          </a:r>
          <a:r>
            <a:rPr lang="zh-CN" altLang="en-US" sz="1400" b="1" kern="1200" dirty="0">
              <a:solidFill>
                <a:srgbClr val="FF0000"/>
              </a:solidFill>
            </a:rPr>
            <a:t>关键词</a:t>
          </a:r>
          <a:endParaRPr lang="en-US" sz="1400" b="1" kern="1200" dirty="0">
            <a:solidFill>
              <a:srgbClr val="FF0000"/>
            </a:solidFill>
          </a:endParaRPr>
        </a:p>
      </dsp:txBody>
      <dsp:txXfrm>
        <a:off x="1050088" y="1564871"/>
        <a:ext cx="2645640" cy="658324"/>
      </dsp:txXfrm>
    </dsp:sp>
    <dsp:sp modelId="{6D4C16E1-FCD0-4166-B22B-915F23F066CB}">
      <dsp:nvSpPr>
        <dsp:cNvPr id="0" name=""/>
        <dsp:cNvSpPr/>
      </dsp:nvSpPr>
      <dsp:spPr>
        <a:xfrm>
          <a:off x="710827" y="408728"/>
          <a:ext cx="318779" cy="2359413"/>
        </a:xfrm>
        <a:custGeom>
          <a:avLst/>
          <a:gdLst/>
          <a:ahLst/>
          <a:cxnLst/>
          <a:rect l="0" t="0" r="0" b="0"/>
          <a:pathLst>
            <a:path>
              <a:moveTo>
                <a:pt x="0" y="0"/>
              </a:moveTo>
              <a:lnTo>
                <a:pt x="0" y="2359413"/>
              </a:lnTo>
              <a:lnTo>
                <a:pt x="318779" y="2359413"/>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E4AF2E-6E98-4F11-B0B1-0F0264E9AE8D}">
      <dsp:nvSpPr>
        <dsp:cNvPr id="0" name=""/>
        <dsp:cNvSpPr/>
      </dsp:nvSpPr>
      <dsp:spPr>
        <a:xfrm>
          <a:off x="1029607" y="2418498"/>
          <a:ext cx="2710333" cy="69928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确定</a:t>
          </a:r>
          <a:r>
            <a:rPr lang="zh-CN" altLang="en-US" sz="1600" b="1" kern="1200" dirty="0">
              <a:solidFill>
                <a:srgbClr val="FF0000"/>
              </a:solidFill>
            </a:rPr>
            <a:t>研究题目</a:t>
          </a:r>
          <a:r>
            <a:rPr lang="en-US" altLang="zh-CN" sz="1600" kern="1200" dirty="0"/>
            <a:t>=</a:t>
          </a:r>
          <a:r>
            <a:rPr lang="zh-CN" altLang="en-US" sz="1600" kern="1200" dirty="0"/>
            <a:t>实验室研究背景</a:t>
          </a:r>
          <a:r>
            <a:rPr lang="en-US" altLang="zh-CN" sz="1600" kern="1200" dirty="0"/>
            <a:t>+</a:t>
          </a:r>
          <a:r>
            <a:rPr lang="zh-CN" altLang="en-US" sz="1600" kern="1200" dirty="0"/>
            <a:t>当前研究热点</a:t>
          </a:r>
          <a:r>
            <a:rPr lang="en-US" altLang="zh-CN" sz="1600" kern="1200" dirty="0"/>
            <a:t>+</a:t>
          </a:r>
          <a:r>
            <a:rPr lang="zh-CN" altLang="en-US" sz="1600" kern="1200" dirty="0"/>
            <a:t>自身兴趣点</a:t>
          </a:r>
          <a:endParaRPr lang="en-US" sz="1600" kern="1200" dirty="0"/>
        </a:p>
      </dsp:txBody>
      <dsp:txXfrm>
        <a:off x="1050088" y="2438979"/>
        <a:ext cx="2669371" cy="658324"/>
      </dsp:txXfrm>
    </dsp:sp>
    <dsp:sp modelId="{C92B0E5D-28AA-4639-9A64-A80DB12B83D3}">
      <dsp:nvSpPr>
        <dsp:cNvPr id="0" name=""/>
        <dsp:cNvSpPr/>
      </dsp:nvSpPr>
      <dsp:spPr>
        <a:xfrm>
          <a:off x="3929486" y="1541"/>
          <a:ext cx="2978050" cy="441025"/>
        </a:xfrm>
        <a:prstGeom prst="roundRect">
          <a:avLst>
            <a:gd name="adj" fmla="val 1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t>确定具体研究题目后的</a:t>
          </a:r>
          <a:r>
            <a:rPr lang="zh-CN" altLang="en-US" sz="1600" b="1" kern="1200" dirty="0">
              <a:solidFill>
                <a:srgbClr val="FF0000"/>
              </a:solidFill>
            </a:rPr>
            <a:t>精调研</a:t>
          </a:r>
          <a:endParaRPr lang="en-US" sz="1600" b="1" kern="1200" dirty="0">
            <a:solidFill>
              <a:srgbClr val="FF0000"/>
            </a:solidFill>
          </a:endParaRPr>
        </a:p>
      </dsp:txBody>
      <dsp:txXfrm>
        <a:off x="3942403" y="14458"/>
        <a:ext cx="2952216" cy="415191"/>
      </dsp:txXfrm>
    </dsp:sp>
    <dsp:sp modelId="{5B538751-CFCE-441A-BC3C-174730F9A24F}">
      <dsp:nvSpPr>
        <dsp:cNvPr id="0" name=""/>
        <dsp:cNvSpPr/>
      </dsp:nvSpPr>
      <dsp:spPr>
        <a:xfrm>
          <a:off x="4227291" y="442567"/>
          <a:ext cx="297805" cy="597211"/>
        </a:xfrm>
        <a:custGeom>
          <a:avLst/>
          <a:gdLst/>
          <a:ahLst/>
          <a:cxnLst/>
          <a:rect l="0" t="0" r="0" b="0"/>
          <a:pathLst>
            <a:path>
              <a:moveTo>
                <a:pt x="0" y="0"/>
              </a:moveTo>
              <a:lnTo>
                <a:pt x="0" y="597211"/>
              </a:lnTo>
              <a:lnTo>
                <a:pt x="297805" y="59721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58B671-B676-4436-8D0B-7937768C47B4}">
      <dsp:nvSpPr>
        <dsp:cNvPr id="0" name=""/>
        <dsp:cNvSpPr/>
      </dsp:nvSpPr>
      <dsp:spPr>
        <a:xfrm>
          <a:off x="4525096" y="617388"/>
          <a:ext cx="2997723" cy="844779"/>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有针对性的收集文献，重点在于</a:t>
          </a:r>
          <a:r>
            <a:rPr lang="zh-CN" altLang="en-US" sz="1400" b="1" kern="1200" dirty="0">
              <a:solidFill>
                <a:srgbClr val="FF0000"/>
              </a:solidFill>
            </a:rPr>
            <a:t>确定内容</a:t>
          </a:r>
          <a:r>
            <a:rPr lang="zh-CN" altLang="en-US" sz="1400" kern="1200" dirty="0"/>
            <a:t>；利用数据库的</a:t>
          </a:r>
          <a:r>
            <a:rPr lang="zh-CN" altLang="en-US" sz="1400" b="1" kern="1200" dirty="0">
              <a:solidFill>
                <a:srgbClr val="FF0000"/>
              </a:solidFill>
            </a:rPr>
            <a:t>分析功能</a:t>
          </a:r>
          <a:r>
            <a:rPr lang="zh-CN" altLang="en-US" sz="1400" kern="1200" dirty="0"/>
            <a:t>，查找主要的研究者和机构</a:t>
          </a:r>
          <a:endParaRPr lang="en-US" sz="1400" kern="1200" dirty="0"/>
        </a:p>
      </dsp:txBody>
      <dsp:txXfrm>
        <a:off x="4549839" y="642131"/>
        <a:ext cx="2948237" cy="795293"/>
      </dsp:txXfrm>
    </dsp:sp>
    <dsp:sp modelId="{6BED3815-61AC-4893-ABEB-FF7F4E8212FF}">
      <dsp:nvSpPr>
        <dsp:cNvPr id="0" name=""/>
        <dsp:cNvSpPr/>
      </dsp:nvSpPr>
      <dsp:spPr>
        <a:xfrm>
          <a:off x="4227291" y="442567"/>
          <a:ext cx="297805" cy="1544066"/>
        </a:xfrm>
        <a:custGeom>
          <a:avLst/>
          <a:gdLst/>
          <a:ahLst/>
          <a:cxnLst/>
          <a:rect l="0" t="0" r="0" b="0"/>
          <a:pathLst>
            <a:path>
              <a:moveTo>
                <a:pt x="0" y="0"/>
              </a:moveTo>
              <a:lnTo>
                <a:pt x="0" y="1544066"/>
              </a:lnTo>
              <a:lnTo>
                <a:pt x="297805" y="154406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D04140-D149-4DEC-921F-375EC8147169}">
      <dsp:nvSpPr>
        <dsp:cNvPr id="0" name=""/>
        <dsp:cNvSpPr/>
      </dsp:nvSpPr>
      <dsp:spPr>
        <a:xfrm>
          <a:off x="4525096" y="1636990"/>
          <a:ext cx="3023770" cy="69928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文献阅读</a:t>
          </a:r>
          <a:r>
            <a:rPr lang="en-US" altLang="zh-CN" sz="1600" kern="1200" dirty="0"/>
            <a:t>-</a:t>
          </a:r>
          <a:r>
            <a:rPr lang="zh-CN" altLang="en-US" sz="1600" kern="1200" dirty="0"/>
            <a:t>泛读和</a:t>
          </a:r>
          <a:r>
            <a:rPr lang="zh-CN" altLang="en-US" sz="1600" b="1" kern="1200" dirty="0">
              <a:solidFill>
                <a:srgbClr val="FF0000"/>
              </a:solidFill>
            </a:rPr>
            <a:t>精读</a:t>
          </a:r>
          <a:r>
            <a:rPr lang="zh-CN" altLang="en-US" sz="1600" kern="1200" dirty="0"/>
            <a:t>相结合</a:t>
          </a:r>
          <a:endParaRPr lang="en-US" sz="1600" kern="1200" dirty="0"/>
        </a:p>
      </dsp:txBody>
      <dsp:txXfrm>
        <a:off x="4545577" y="1657471"/>
        <a:ext cx="2982808" cy="658324"/>
      </dsp:txXfrm>
    </dsp:sp>
    <dsp:sp modelId="{3CAF1D05-59E1-4165-A627-CE2525CF2A36}">
      <dsp:nvSpPr>
        <dsp:cNvPr id="0" name=""/>
        <dsp:cNvSpPr/>
      </dsp:nvSpPr>
      <dsp:spPr>
        <a:xfrm>
          <a:off x="4227291" y="442567"/>
          <a:ext cx="297805" cy="2344721"/>
        </a:xfrm>
        <a:custGeom>
          <a:avLst/>
          <a:gdLst/>
          <a:ahLst/>
          <a:cxnLst/>
          <a:rect l="0" t="0" r="0" b="0"/>
          <a:pathLst>
            <a:path>
              <a:moveTo>
                <a:pt x="0" y="0"/>
              </a:moveTo>
              <a:lnTo>
                <a:pt x="0" y="2344721"/>
              </a:lnTo>
              <a:lnTo>
                <a:pt x="297805" y="234472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6C2334-DA89-4551-B351-5AF26259B5C7}">
      <dsp:nvSpPr>
        <dsp:cNvPr id="0" name=""/>
        <dsp:cNvSpPr/>
      </dsp:nvSpPr>
      <dsp:spPr>
        <a:xfrm>
          <a:off x="4525096" y="2437645"/>
          <a:ext cx="3028145" cy="69928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确定课题实施方案（技术和方法的创新）</a:t>
          </a:r>
          <a:endParaRPr lang="en-US" sz="1600" kern="1200" dirty="0"/>
        </a:p>
      </dsp:txBody>
      <dsp:txXfrm>
        <a:off x="4545577" y="2458126"/>
        <a:ext cx="2987183" cy="6583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1ACCFC-574C-4116-811B-7F514A3FA134}">
      <dsp:nvSpPr>
        <dsp:cNvPr id="0" name=""/>
        <dsp:cNvSpPr/>
      </dsp:nvSpPr>
      <dsp:spPr>
        <a:xfrm>
          <a:off x="1971512" y="770253"/>
          <a:ext cx="91440" cy="103110"/>
        </a:xfrm>
        <a:custGeom>
          <a:avLst/>
          <a:gdLst/>
          <a:ahLst/>
          <a:cxnLst/>
          <a:rect l="0" t="0" r="0" b="0"/>
          <a:pathLst>
            <a:path>
              <a:moveTo>
                <a:pt x="45720" y="0"/>
              </a:moveTo>
              <a:lnTo>
                <a:pt x="45720" y="1031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8F6ADC-F269-45A2-B7D0-BB75D3FCAA2E}">
      <dsp:nvSpPr>
        <dsp:cNvPr id="0" name=""/>
        <dsp:cNvSpPr/>
      </dsp:nvSpPr>
      <dsp:spPr>
        <a:xfrm>
          <a:off x="1342105" y="339808"/>
          <a:ext cx="675127" cy="103110"/>
        </a:xfrm>
        <a:custGeom>
          <a:avLst/>
          <a:gdLst/>
          <a:ahLst/>
          <a:cxnLst/>
          <a:rect l="0" t="0" r="0" b="0"/>
          <a:pathLst>
            <a:path>
              <a:moveTo>
                <a:pt x="0" y="0"/>
              </a:moveTo>
              <a:lnTo>
                <a:pt x="0" y="51964"/>
              </a:lnTo>
              <a:lnTo>
                <a:pt x="675127" y="51964"/>
              </a:lnTo>
              <a:lnTo>
                <a:pt x="675127" y="1031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FF2A988-98F8-4AB4-90A9-32F811E93636}">
      <dsp:nvSpPr>
        <dsp:cNvPr id="0" name=""/>
        <dsp:cNvSpPr/>
      </dsp:nvSpPr>
      <dsp:spPr>
        <a:xfrm>
          <a:off x="666977" y="770253"/>
          <a:ext cx="450085" cy="103110"/>
        </a:xfrm>
        <a:custGeom>
          <a:avLst/>
          <a:gdLst/>
          <a:ahLst/>
          <a:cxnLst/>
          <a:rect l="0" t="0" r="0" b="0"/>
          <a:pathLst>
            <a:path>
              <a:moveTo>
                <a:pt x="0" y="0"/>
              </a:moveTo>
              <a:lnTo>
                <a:pt x="0" y="51964"/>
              </a:lnTo>
              <a:lnTo>
                <a:pt x="450085" y="51964"/>
              </a:lnTo>
              <a:lnTo>
                <a:pt x="450085" y="1031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4185A6-C112-45B6-901A-8DE10E30CF79}">
      <dsp:nvSpPr>
        <dsp:cNvPr id="0" name=""/>
        <dsp:cNvSpPr/>
      </dsp:nvSpPr>
      <dsp:spPr>
        <a:xfrm>
          <a:off x="216892" y="770253"/>
          <a:ext cx="450085" cy="103110"/>
        </a:xfrm>
        <a:custGeom>
          <a:avLst/>
          <a:gdLst/>
          <a:ahLst/>
          <a:cxnLst/>
          <a:rect l="0" t="0" r="0" b="0"/>
          <a:pathLst>
            <a:path>
              <a:moveTo>
                <a:pt x="450085" y="0"/>
              </a:moveTo>
              <a:lnTo>
                <a:pt x="450085" y="51964"/>
              </a:lnTo>
              <a:lnTo>
                <a:pt x="0" y="51964"/>
              </a:lnTo>
              <a:lnTo>
                <a:pt x="0" y="1031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8CD161-B85E-4EE3-8781-E7AFA0142ADB}">
      <dsp:nvSpPr>
        <dsp:cNvPr id="0" name=""/>
        <dsp:cNvSpPr/>
      </dsp:nvSpPr>
      <dsp:spPr>
        <a:xfrm>
          <a:off x="666977" y="339808"/>
          <a:ext cx="675127" cy="103110"/>
        </a:xfrm>
        <a:custGeom>
          <a:avLst/>
          <a:gdLst/>
          <a:ahLst/>
          <a:cxnLst/>
          <a:rect l="0" t="0" r="0" b="0"/>
          <a:pathLst>
            <a:path>
              <a:moveTo>
                <a:pt x="675127" y="0"/>
              </a:moveTo>
              <a:lnTo>
                <a:pt x="675127" y="51964"/>
              </a:lnTo>
              <a:lnTo>
                <a:pt x="0" y="51964"/>
              </a:lnTo>
              <a:lnTo>
                <a:pt x="0" y="10311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6F306F8-F059-4492-9F3D-D65BC08BBDB0}">
      <dsp:nvSpPr>
        <dsp:cNvPr id="0" name=""/>
        <dsp:cNvSpPr/>
      </dsp:nvSpPr>
      <dsp:spPr>
        <a:xfrm>
          <a:off x="1178437" y="12474"/>
          <a:ext cx="327334" cy="327334"/>
        </a:xfrm>
        <a:prstGeom prst="ellipse">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B2176A-D728-4C7F-9773-EBA2A78F6AAC}">
      <dsp:nvSpPr>
        <dsp:cNvPr id="0" name=""/>
        <dsp:cNvSpPr/>
      </dsp:nvSpPr>
      <dsp:spPr>
        <a:xfrm>
          <a:off x="1505772" y="11656"/>
          <a:ext cx="491001" cy="327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sz="700" kern="1200" dirty="0"/>
            <a:t>Materials Science</a:t>
          </a:r>
        </a:p>
      </dsp:txBody>
      <dsp:txXfrm>
        <a:off x="1505772" y="11656"/>
        <a:ext cx="491001" cy="327334"/>
      </dsp:txXfrm>
    </dsp:sp>
    <dsp:sp modelId="{70EC3EDA-A842-4570-8B9E-9246B79F7F5C}">
      <dsp:nvSpPr>
        <dsp:cNvPr id="0" name=""/>
        <dsp:cNvSpPr/>
      </dsp:nvSpPr>
      <dsp:spPr>
        <a:xfrm>
          <a:off x="503310" y="442919"/>
          <a:ext cx="327334" cy="327334"/>
        </a:xfrm>
        <a:prstGeom prst="ellipse">
          <a:avLst/>
        </a:prstGeom>
        <a:solidFill>
          <a:schemeClr val="accent1">
            <a:hueOff val="0"/>
            <a:satOff val="0"/>
            <a:lumOff val="0"/>
          </a:schemeClr>
        </a:solidFill>
        <a:ln w="0" cap="flat" cmpd="sng" algn="ctr">
          <a:solidFill>
            <a:scrgbClr r="0" g="0" b="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2DF1D5-BB57-4CF1-8295-F70DB76D73AB}">
      <dsp:nvSpPr>
        <dsp:cNvPr id="0" name=""/>
        <dsp:cNvSpPr/>
      </dsp:nvSpPr>
      <dsp:spPr>
        <a:xfrm>
          <a:off x="830644" y="442101"/>
          <a:ext cx="491001" cy="327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sz="700" kern="1200" dirty="0"/>
            <a:t>Surface properties</a:t>
          </a:r>
        </a:p>
      </dsp:txBody>
      <dsp:txXfrm>
        <a:off x="830644" y="442101"/>
        <a:ext cx="491001" cy="327334"/>
      </dsp:txXfrm>
    </dsp:sp>
    <dsp:sp modelId="{1F8590E5-9503-4CA2-96AA-0CCE53260947}">
      <dsp:nvSpPr>
        <dsp:cNvPr id="0" name=""/>
        <dsp:cNvSpPr/>
      </dsp:nvSpPr>
      <dsp:spPr>
        <a:xfrm>
          <a:off x="53225" y="873364"/>
          <a:ext cx="327334" cy="327334"/>
        </a:xfrm>
        <a:prstGeom prst="ellipse">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6F152B-7CF2-41E7-8608-8F30368B7773}">
      <dsp:nvSpPr>
        <dsp:cNvPr id="0" name=""/>
        <dsp:cNvSpPr/>
      </dsp:nvSpPr>
      <dsp:spPr>
        <a:xfrm>
          <a:off x="380559" y="872546"/>
          <a:ext cx="491001" cy="327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sz="700" kern="1200" dirty="0"/>
            <a:t>Surface charge</a:t>
          </a:r>
        </a:p>
      </dsp:txBody>
      <dsp:txXfrm>
        <a:off x="380559" y="872546"/>
        <a:ext cx="491001" cy="327334"/>
      </dsp:txXfrm>
    </dsp:sp>
    <dsp:sp modelId="{033F5BAC-0320-49A6-B954-A152EA86FCBD}">
      <dsp:nvSpPr>
        <dsp:cNvPr id="0" name=""/>
        <dsp:cNvSpPr/>
      </dsp:nvSpPr>
      <dsp:spPr>
        <a:xfrm>
          <a:off x="953395" y="873364"/>
          <a:ext cx="327334" cy="327334"/>
        </a:xfrm>
        <a:prstGeom prst="ellipse">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E47C81-548F-4E9A-B22C-0E691682381B}">
      <dsp:nvSpPr>
        <dsp:cNvPr id="0" name=""/>
        <dsp:cNvSpPr/>
      </dsp:nvSpPr>
      <dsp:spPr>
        <a:xfrm>
          <a:off x="1280729" y="872546"/>
          <a:ext cx="491001" cy="327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sz="700" kern="1200" dirty="0"/>
            <a:t>Surface analysis</a:t>
          </a:r>
        </a:p>
      </dsp:txBody>
      <dsp:txXfrm>
        <a:off x="1280729" y="872546"/>
        <a:ext cx="491001" cy="327334"/>
      </dsp:txXfrm>
    </dsp:sp>
    <dsp:sp modelId="{8B6C7CB6-284C-45BB-B251-3C386A1CAA15}">
      <dsp:nvSpPr>
        <dsp:cNvPr id="0" name=""/>
        <dsp:cNvSpPr/>
      </dsp:nvSpPr>
      <dsp:spPr>
        <a:xfrm>
          <a:off x="1853565" y="442919"/>
          <a:ext cx="327334" cy="327334"/>
        </a:xfrm>
        <a:prstGeom prst="ellipse">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A31FC5-B569-41BB-9EEA-8A721975A567}">
      <dsp:nvSpPr>
        <dsp:cNvPr id="0" name=""/>
        <dsp:cNvSpPr/>
      </dsp:nvSpPr>
      <dsp:spPr>
        <a:xfrm>
          <a:off x="2180899" y="442101"/>
          <a:ext cx="491001" cy="327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sz="700" kern="1200" dirty="0"/>
            <a:t>Adhesion</a:t>
          </a:r>
        </a:p>
      </dsp:txBody>
      <dsp:txXfrm>
        <a:off x="2180899" y="442101"/>
        <a:ext cx="491001" cy="327334"/>
      </dsp:txXfrm>
    </dsp:sp>
    <dsp:sp modelId="{57E70CB2-FC35-49CA-9BCD-0D8BE8159DAC}">
      <dsp:nvSpPr>
        <dsp:cNvPr id="0" name=""/>
        <dsp:cNvSpPr/>
      </dsp:nvSpPr>
      <dsp:spPr>
        <a:xfrm>
          <a:off x="1853565" y="873364"/>
          <a:ext cx="327334" cy="327334"/>
        </a:xfrm>
        <a:prstGeom prst="ellipse">
          <a:avLst/>
        </a:prstGeom>
        <a:solidFill>
          <a:schemeClr val="accent1">
            <a:hueOff val="0"/>
            <a:satOff val="0"/>
            <a:lum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3887F1-8C59-48B3-8424-087DC903993F}">
      <dsp:nvSpPr>
        <dsp:cNvPr id="0" name=""/>
        <dsp:cNvSpPr/>
      </dsp:nvSpPr>
      <dsp:spPr>
        <a:xfrm>
          <a:off x="2180899" y="872546"/>
          <a:ext cx="491001" cy="327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altLang="zh-CN" sz="700" kern="1200" dirty="0"/>
            <a:t>Bond (</a:t>
          </a:r>
          <a:r>
            <a:rPr lang="en-US" altLang="zh-CN" sz="700" kern="1200" dirty="0" err="1"/>
            <a:t>mansory</a:t>
          </a:r>
          <a:r>
            <a:rPr lang="en-US" altLang="zh-CN" sz="700" kern="1200" dirty="0"/>
            <a:t>)</a:t>
          </a:r>
          <a:endParaRPr lang="en-US" sz="700" kern="1200" dirty="0"/>
        </a:p>
      </dsp:txBody>
      <dsp:txXfrm>
        <a:off x="2180899" y="872546"/>
        <a:ext cx="491001" cy="3273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39B58-2415-42F8-8B69-361E524FAD1E}">
      <dsp:nvSpPr>
        <dsp:cNvPr id="0" name=""/>
        <dsp:cNvSpPr/>
      </dsp:nvSpPr>
      <dsp:spPr>
        <a:xfrm>
          <a:off x="3611545" y="1835146"/>
          <a:ext cx="91440" cy="341836"/>
        </a:xfrm>
        <a:custGeom>
          <a:avLst/>
          <a:gdLst/>
          <a:ahLst/>
          <a:cxnLst/>
          <a:rect l="0" t="0" r="0" b="0"/>
          <a:pathLst>
            <a:path>
              <a:moveTo>
                <a:pt x="45720" y="0"/>
              </a:moveTo>
              <a:lnTo>
                <a:pt x="45720" y="34183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3AE9B5-30C6-49E0-BD70-F5B2365A35EF}">
      <dsp:nvSpPr>
        <dsp:cNvPr id="0" name=""/>
        <dsp:cNvSpPr/>
      </dsp:nvSpPr>
      <dsp:spPr>
        <a:xfrm>
          <a:off x="2579842" y="746949"/>
          <a:ext cx="1077422" cy="341836"/>
        </a:xfrm>
        <a:custGeom>
          <a:avLst/>
          <a:gdLst/>
          <a:ahLst/>
          <a:cxnLst/>
          <a:rect l="0" t="0" r="0" b="0"/>
          <a:pathLst>
            <a:path>
              <a:moveTo>
                <a:pt x="0" y="0"/>
              </a:moveTo>
              <a:lnTo>
                <a:pt x="0" y="232951"/>
              </a:lnTo>
              <a:lnTo>
                <a:pt x="1077422" y="232951"/>
              </a:lnTo>
              <a:lnTo>
                <a:pt x="1077422" y="34183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53BEDB-0AF2-43F3-9357-12BA6CF74717}">
      <dsp:nvSpPr>
        <dsp:cNvPr id="0" name=""/>
        <dsp:cNvSpPr/>
      </dsp:nvSpPr>
      <dsp:spPr>
        <a:xfrm>
          <a:off x="1502419" y="1835146"/>
          <a:ext cx="718281" cy="341836"/>
        </a:xfrm>
        <a:custGeom>
          <a:avLst/>
          <a:gdLst/>
          <a:ahLst/>
          <a:cxnLst/>
          <a:rect l="0" t="0" r="0" b="0"/>
          <a:pathLst>
            <a:path>
              <a:moveTo>
                <a:pt x="0" y="0"/>
              </a:moveTo>
              <a:lnTo>
                <a:pt x="0" y="232951"/>
              </a:lnTo>
              <a:lnTo>
                <a:pt x="718281" y="232951"/>
              </a:lnTo>
              <a:lnTo>
                <a:pt x="718281" y="34183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D624F6-BC7C-4EE2-8BB4-85CC79CB3CE0}">
      <dsp:nvSpPr>
        <dsp:cNvPr id="0" name=""/>
        <dsp:cNvSpPr/>
      </dsp:nvSpPr>
      <dsp:spPr>
        <a:xfrm>
          <a:off x="784138" y="1835146"/>
          <a:ext cx="718281" cy="341836"/>
        </a:xfrm>
        <a:custGeom>
          <a:avLst/>
          <a:gdLst/>
          <a:ahLst/>
          <a:cxnLst/>
          <a:rect l="0" t="0" r="0" b="0"/>
          <a:pathLst>
            <a:path>
              <a:moveTo>
                <a:pt x="718281" y="0"/>
              </a:moveTo>
              <a:lnTo>
                <a:pt x="718281" y="232951"/>
              </a:lnTo>
              <a:lnTo>
                <a:pt x="0" y="232951"/>
              </a:lnTo>
              <a:lnTo>
                <a:pt x="0" y="34183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F99467-9660-4570-9D78-D3AD8DCAA4E0}">
      <dsp:nvSpPr>
        <dsp:cNvPr id="0" name=""/>
        <dsp:cNvSpPr/>
      </dsp:nvSpPr>
      <dsp:spPr>
        <a:xfrm>
          <a:off x="1502419" y="746949"/>
          <a:ext cx="1077422" cy="341836"/>
        </a:xfrm>
        <a:custGeom>
          <a:avLst/>
          <a:gdLst/>
          <a:ahLst/>
          <a:cxnLst/>
          <a:rect l="0" t="0" r="0" b="0"/>
          <a:pathLst>
            <a:path>
              <a:moveTo>
                <a:pt x="1077422" y="0"/>
              </a:moveTo>
              <a:lnTo>
                <a:pt x="1077422" y="232951"/>
              </a:lnTo>
              <a:lnTo>
                <a:pt x="0" y="232951"/>
              </a:lnTo>
              <a:lnTo>
                <a:pt x="0" y="34183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F83DDA-5571-443D-AD4D-EE28D394E9F9}">
      <dsp:nvSpPr>
        <dsp:cNvPr id="0" name=""/>
        <dsp:cNvSpPr/>
      </dsp:nvSpPr>
      <dsp:spPr>
        <a:xfrm>
          <a:off x="1992157" y="589"/>
          <a:ext cx="1175370" cy="746360"/>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E53EFA5A-0328-4A0E-A9B0-E5A552E0A81F}">
      <dsp:nvSpPr>
        <dsp:cNvPr id="0" name=""/>
        <dsp:cNvSpPr/>
      </dsp:nvSpPr>
      <dsp:spPr>
        <a:xfrm>
          <a:off x="2122754" y="124656"/>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hlinkClick xmlns:r="http://schemas.openxmlformats.org/officeDocument/2006/relationships" r:id="rId1"/>
            </a:rPr>
            <a:t>Food products</a:t>
          </a:r>
          <a:endParaRPr lang="en-US" sz="2000" kern="1200" dirty="0"/>
        </a:p>
      </dsp:txBody>
      <dsp:txXfrm>
        <a:off x="2144614" y="146516"/>
        <a:ext cx="1131650" cy="702640"/>
      </dsp:txXfrm>
    </dsp:sp>
    <dsp:sp modelId="{C1F01BB4-A8C1-42EA-AB27-AABCBD858EB1}">
      <dsp:nvSpPr>
        <dsp:cNvPr id="0" name=""/>
        <dsp:cNvSpPr/>
      </dsp:nvSpPr>
      <dsp:spPr>
        <a:xfrm>
          <a:off x="914734" y="1088786"/>
          <a:ext cx="1175370" cy="746360"/>
        </a:xfrm>
        <a:prstGeom prst="roundRect">
          <a:avLst>
            <a:gd name="adj" fmla="val 1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7C9C6CD0-0111-425A-B851-0B10C459CA24}">
      <dsp:nvSpPr>
        <dsp:cNvPr id="0" name=""/>
        <dsp:cNvSpPr/>
      </dsp:nvSpPr>
      <dsp:spPr>
        <a:xfrm>
          <a:off x="1045331" y="1212853"/>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hlinkClick xmlns:r="http://schemas.openxmlformats.org/officeDocument/2006/relationships" r:id="rId2"/>
            </a:rPr>
            <a:t>Bottling plants</a:t>
          </a:r>
          <a:endParaRPr lang="en-US" sz="2000" kern="1200" dirty="0"/>
        </a:p>
      </dsp:txBody>
      <dsp:txXfrm>
        <a:off x="1067191" y="1234713"/>
        <a:ext cx="1131650" cy="702640"/>
      </dsp:txXfrm>
    </dsp:sp>
    <dsp:sp modelId="{E40B5D00-41A6-4E85-A1A4-EB411CEC2053}">
      <dsp:nvSpPr>
        <dsp:cNvPr id="0" name=""/>
        <dsp:cNvSpPr/>
      </dsp:nvSpPr>
      <dsp:spPr>
        <a:xfrm>
          <a:off x="196453" y="2176983"/>
          <a:ext cx="1175370" cy="746360"/>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EF680FC2-024F-4789-8B33-062EAD422D9F}">
      <dsp:nvSpPr>
        <dsp:cNvPr id="0" name=""/>
        <dsp:cNvSpPr/>
      </dsp:nvSpPr>
      <dsp:spPr>
        <a:xfrm>
          <a:off x="327049" y="2301050"/>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hlinkClick xmlns:r="http://schemas.openxmlformats.org/officeDocument/2006/relationships" r:id="rId3"/>
            </a:rPr>
            <a:t>Fruit juices</a:t>
          </a:r>
          <a:endParaRPr lang="en-US" sz="2000" kern="1200" dirty="0"/>
        </a:p>
      </dsp:txBody>
      <dsp:txXfrm>
        <a:off x="348909" y="2322910"/>
        <a:ext cx="1131650" cy="702640"/>
      </dsp:txXfrm>
    </dsp:sp>
    <dsp:sp modelId="{0064DC7A-EB92-42A5-A74C-BB247CF3252F}">
      <dsp:nvSpPr>
        <dsp:cNvPr id="0" name=""/>
        <dsp:cNvSpPr/>
      </dsp:nvSpPr>
      <dsp:spPr>
        <a:xfrm>
          <a:off x="1633016" y="2176983"/>
          <a:ext cx="1175370" cy="746360"/>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F0F64103-96A7-46A4-9BBD-170AAAC2BAAA}">
      <dsp:nvSpPr>
        <dsp:cNvPr id="0" name=""/>
        <dsp:cNvSpPr/>
      </dsp:nvSpPr>
      <dsp:spPr>
        <a:xfrm>
          <a:off x="1763613" y="2301050"/>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hlinkClick xmlns:r="http://schemas.openxmlformats.org/officeDocument/2006/relationships" r:id="rId4"/>
            </a:rPr>
            <a:t>Cocoa</a:t>
          </a:r>
          <a:endParaRPr lang="en-US" sz="2000" kern="1200" dirty="0"/>
        </a:p>
      </dsp:txBody>
      <dsp:txXfrm>
        <a:off x="1785473" y="2322910"/>
        <a:ext cx="1131650" cy="702640"/>
      </dsp:txXfrm>
    </dsp:sp>
    <dsp:sp modelId="{D9B2312B-DC06-443A-B922-5F08C102E23E}">
      <dsp:nvSpPr>
        <dsp:cNvPr id="0" name=""/>
        <dsp:cNvSpPr/>
      </dsp:nvSpPr>
      <dsp:spPr>
        <a:xfrm>
          <a:off x="3069580" y="1088786"/>
          <a:ext cx="1175370" cy="746360"/>
        </a:xfrm>
        <a:prstGeom prst="roundRect">
          <a:avLst>
            <a:gd name="adj" fmla="val 1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520B116-01D0-48C6-A3FC-5F44EB96221A}">
      <dsp:nvSpPr>
        <dsp:cNvPr id="0" name=""/>
        <dsp:cNvSpPr/>
      </dsp:nvSpPr>
      <dsp:spPr>
        <a:xfrm>
          <a:off x="3200176" y="1212853"/>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hlinkClick xmlns:r="http://schemas.openxmlformats.org/officeDocument/2006/relationships" r:id="rId5"/>
            </a:rPr>
            <a:t>Dairy products</a:t>
          </a:r>
          <a:endParaRPr lang="en-US" sz="2000" kern="1200" dirty="0"/>
        </a:p>
      </dsp:txBody>
      <dsp:txXfrm>
        <a:off x="3222036" y="1234713"/>
        <a:ext cx="1131650" cy="702640"/>
      </dsp:txXfrm>
    </dsp:sp>
    <dsp:sp modelId="{54A96C36-5C21-44C6-92F2-45C7E5D29EF2}">
      <dsp:nvSpPr>
        <dsp:cNvPr id="0" name=""/>
        <dsp:cNvSpPr/>
      </dsp:nvSpPr>
      <dsp:spPr>
        <a:xfrm>
          <a:off x="3069580" y="2176983"/>
          <a:ext cx="1175370" cy="746360"/>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3C736999-C5A5-4376-AD6D-7918B4944C59}">
      <dsp:nvSpPr>
        <dsp:cNvPr id="0" name=""/>
        <dsp:cNvSpPr/>
      </dsp:nvSpPr>
      <dsp:spPr>
        <a:xfrm>
          <a:off x="3200176" y="2301050"/>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hlinkClick xmlns:r="http://schemas.openxmlformats.org/officeDocument/2006/relationships" r:id="rId6"/>
            </a:rPr>
            <a:t>Casein</a:t>
          </a:r>
          <a:endParaRPr lang="en-US" sz="2000" kern="1200" dirty="0"/>
        </a:p>
      </dsp:txBody>
      <dsp:txXfrm>
        <a:off x="3222036" y="2322910"/>
        <a:ext cx="1131650" cy="70264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9DD4CF-C917-4D69-9374-6EFF2E9F78C3}" type="datetimeFigureOut">
              <a:rPr lang="de-DE" smtClean="0"/>
              <a:t>23.10.2020</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443C7B-F938-4CE9-A268-32817172635B}" type="slidenum">
              <a:rPr lang="de-DE" smtClean="0"/>
              <a:t>‹#›</a:t>
            </a:fld>
            <a:endParaRPr lang="de-DE"/>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5</a:t>
            </a:fld>
            <a:endParaRPr lang="de-DE"/>
          </a:p>
        </p:txBody>
      </p:sp>
    </p:spTree>
    <p:extLst>
      <p:ext uri="{BB962C8B-B14F-4D97-AF65-F5344CB8AC3E}">
        <p14:creationId xmlns:p14="http://schemas.microsoft.com/office/powerpoint/2010/main" val="1907343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E69B7380-9785-43F2-B300-CBAD091B6A6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8" name="Rectangle 3">
            <a:extLst>
              <a:ext uri="{FF2B5EF4-FFF2-40B4-BE49-F238E27FC236}">
                <a16:creationId xmlns:a16="http://schemas.microsoft.com/office/drawing/2014/main" id="{F0E4B19C-1126-4D89-A12A-9FAB92197C6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698C098C-2D50-4D24-804F-F6FAD4F4738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6" name="Rectangle 3">
            <a:extLst>
              <a:ext uri="{FF2B5EF4-FFF2-40B4-BE49-F238E27FC236}">
                <a16:creationId xmlns:a16="http://schemas.microsoft.com/office/drawing/2014/main" id="{CA77B914-C9AF-4EC4-B591-FAB658B886F6}"/>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765A2DFE-42F4-42EE-9A59-F3B0808722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2" name="Rectangle 3">
            <a:extLst>
              <a:ext uri="{FF2B5EF4-FFF2-40B4-BE49-F238E27FC236}">
                <a16:creationId xmlns:a16="http://schemas.microsoft.com/office/drawing/2014/main" id="{32E8EA38-3BBA-42CA-A7CF-8EE8957CEE8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1212B456-D492-4A9E-8F53-F7244F108B1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Rectangle 3">
            <a:extLst>
              <a:ext uri="{FF2B5EF4-FFF2-40B4-BE49-F238E27FC236}">
                <a16:creationId xmlns:a16="http://schemas.microsoft.com/office/drawing/2014/main" id="{051695E5-C907-462D-9E4E-7B9918CB42C7}"/>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3F373CA0-34FA-441C-ADF7-CF0703C12BB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4" name="Rectangle 3">
            <a:extLst>
              <a:ext uri="{FF2B5EF4-FFF2-40B4-BE49-F238E27FC236}">
                <a16:creationId xmlns:a16="http://schemas.microsoft.com/office/drawing/2014/main" id="{19E1F9C8-93A1-4359-8A8E-D7F1349764A8}"/>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19A78A6E-B832-47AA-AACC-EE7D5636DC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Rectangle 3">
            <a:extLst>
              <a:ext uri="{FF2B5EF4-FFF2-40B4-BE49-F238E27FC236}">
                <a16:creationId xmlns:a16="http://schemas.microsoft.com/office/drawing/2014/main" id="{350CEECE-D55B-48E7-B8FB-129EBFEC0643}"/>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9F27643C-95AB-4ABF-8001-83D57049CD4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Rectangle 3">
            <a:extLst>
              <a:ext uri="{FF2B5EF4-FFF2-40B4-BE49-F238E27FC236}">
                <a16:creationId xmlns:a16="http://schemas.microsoft.com/office/drawing/2014/main" id="{3016B144-71FE-4AB7-AE66-64478435DA8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a:extLst>
              <a:ext uri="{FF2B5EF4-FFF2-40B4-BE49-F238E27FC236}">
                <a16:creationId xmlns:a16="http://schemas.microsoft.com/office/drawing/2014/main" id="{83134123-6F55-4485-A608-54A64EDF095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Rectangle 3">
            <a:extLst>
              <a:ext uri="{FF2B5EF4-FFF2-40B4-BE49-F238E27FC236}">
                <a16:creationId xmlns:a16="http://schemas.microsoft.com/office/drawing/2014/main" id="{4CF02493-8A2C-40A6-95B0-57F66304EE1E}"/>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DF6684A9-28C9-4310-8DEB-2375E77B88F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Rectangle 3">
            <a:extLst>
              <a:ext uri="{FF2B5EF4-FFF2-40B4-BE49-F238E27FC236}">
                <a16:creationId xmlns:a16="http://schemas.microsoft.com/office/drawing/2014/main" id="{F6AF233A-5B5F-4BEE-B330-0B7D09CDB8F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B952303E-E01A-49A4-8DA9-9EE75108D23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0" name="Rectangle 3">
            <a:extLst>
              <a:ext uri="{FF2B5EF4-FFF2-40B4-BE49-F238E27FC236}">
                <a16:creationId xmlns:a16="http://schemas.microsoft.com/office/drawing/2014/main" id="{95DFB69F-8FF5-40B6-85F8-017380070918}"/>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he </a:t>
            </a:r>
            <a:r>
              <a:rPr lang="en-GB" sz="1200" kern="1200" dirty="0" err="1">
                <a:solidFill>
                  <a:schemeClr val="tx1"/>
                </a:solidFill>
                <a:effectLst/>
                <a:latin typeface="+mn-lt"/>
                <a:ea typeface="+mn-ea"/>
                <a:cs typeface="+mn-cs"/>
              </a:rPr>
              <a:t>Inspec</a:t>
            </a:r>
            <a:r>
              <a:rPr lang="en-GB" sz="1200" kern="1200" dirty="0">
                <a:solidFill>
                  <a:schemeClr val="tx1"/>
                </a:solidFill>
                <a:effectLst/>
                <a:latin typeface="+mn-lt"/>
                <a:ea typeface="+mn-ea"/>
                <a:cs typeface="+mn-cs"/>
              </a:rPr>
              <a:t> database has been the definitive engineering and physics research database for almost 50 years.</a:t>
            </a:r>
          </a:p>
          <a:p>
            <a:r>
              <a:rPr lang="en-GB" sz="1200" kern="1200" dirty="0">
                <a:solidFill>
                  <a:schemeClr val="tx1"/>
                </a:solidFill>
                <a:effectLst/>
                <a:latin typeface="+mn-lt"/>
                <a:ea typeface="+mn-ea"/>
                <a:cs typeface="+mn-cs"/>
              </a:rPr>
              <a:t>Over that time our expert indexers have indexed over 18 million articles from journals across the world. There are currently more than 4,500 journals indexed in </a:t>
            </a:r>
            <a:r>
              <a:rPr lang="en-GB" sz="1200" kern="1200" dirty="0" err="1">
                <a:solidFill>
                  <a:schemeClr val="tx1"/>
                </a:solidFill>
                <a:effectLst/>
                <a:latin typeface="+mn-lt"/>
                <a:ea typeface="+mn-ea"/>
                <a:cs typeface="+mn-cs"/>
              </a:rPr>
              <a:t>Inspec</a:t>
            </a:r>
            <a:r>
              <a:rPr lang="en-GB" sz="120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fld id="{972BE267-B61F-CB40-9119-2CACF6A3FEAA}" type="slidenum">
              <a:rPr lang="en-US" smtClean="0"/>
              <a:t>8</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B8D71A0D-EA6C-48F3-BB35-EC96CBE008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9140B3B0-CF19-4856-9D0C-B27857CCB2C4}"/>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5AEF357-0D22-493A-903B-8623879520B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8" name="Rectangle 3">
            <a:extLst>
              <a:ext uri="{FF2B5EF4-FFF2-40B4-BE49-F238E27FC236}">
                <a16:creationId xmlns:a16="http://schemas.microsoft.com/office/drawing/2014/main" id="{E719FD8C-C126-4D67-8700-A20D778F79F6}"/>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227106A0-8890-403A-8CF6-0C7DA2D69F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Rectangle 3">
            <a:extLst>
              <a:ext uri="{FF2B5EF4-FFF2-40B4-BE49-F238E27FC236}">
                <a16:creationId xmlns:a16="http://schemas.microsoft.com/office/drawing/2014/main" id="{596C1D87-1BB7-454D-A303-5315763BA1DB}"/>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D7BCAD3C-BD14-46B9-ACB4-B9797A33F3E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0" name="Rectangle 3">
            <a:extLst>
              <a:ext uri="{FF2B5EF4-FFF2-40B4-BE49-F238E27FC236}">
                <a16:creationId xmlns:a16="http://schemas.microsoft.com/office/drawing/2014/main" id="{8D95854B-2E80-4FEE-B592-F74620C571DE}"/>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a:extLst>
              <a:ext uri="{FF2B5EF4-FFF2-40B4-BE49-F238E27FC236}">
                <a16:creationId xmlns:a16="http://schemas.microsoft.com/office/drawing/2014/main" id="{8FE8D8D6-8A62-462A-BAE6-5746DAA0FCB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2" name="Rectangle 3">
            <a:extLst>
              <a:ext uri="{FF2B5EF4-FFF2-40B4-BE49-F238E27FC236}">
                <a16:creationId xmlns:a16="http://schemas.microsoft.com/office/drawing/2014/main" id="{42E047D5-F990-4343-BE76-898517A9C4A4}"/>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46</a:t>
            </a:fld>
            <a:endParaRPr lang="de-DE"/>
          </a:p>
        </p:txBody>
      </p:sp>
    </p:spTree>
    <p:extLst>
      <p:ext uri="{BB962C8B-B14F-4D97-AF65-F5344CB8AC3E}">
        <p14:creationId xmlns:p14="http://schemas.microsoft.com/office/powerpoint/2010/main" val="26749229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5D47AC0C-8760-4E5D-BA03-E74EBDD8CDA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6" name="Rectangle 3">
            <a:extLst>
              <a:ext uri="{FF2B5EF4-FFF2-40B4-BE49-F238E27FC236}">
                <a16:creationId xmlns:a16="http://schemas.microsoft.com/office/drawing/2014/main" id="{3E9048C2-A1C4-49EB-946A-3365831116FA}"/>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id="{A8C12071-4691-43A8-B6F4-D1ECA2AF5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0" name="Rectangle 3">
            <a:extLst>
              <a:ext uri="{FF2B5EF4-FFF2-40B4-BE49-F238E27FC236}">
                <a16:creationId xmlns:a16="http://schemas.microsoft.com/office/drawing/2014/main" id="{C704C899-27A4-4DFD-8B14-363B71C0F2FC}"/>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a:extLst>
              <a:ext uri="{FF2B5EF4-FFF2-40B4-BE49-F238E27FC236}">
                <a16:creationId xmlns:a16="http://schemas.microsoft.com/office/drawing/2014/main" id="{05C114CF-86BE-4615-8DE8-A3E84D3BE98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8" name="Rectangle 3">
            <a:extLst>
              <a:ext uri="{FF2B5EF4-FFF2-40B4-BE49-F238E27FC236}">
                <a16:creationId xmlns:a16="http://schemas.microsoft.com/office/drawing/2014/main" id="{F45D7D22-E386-42E4-A1C7-969040E21ECF}"/>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a:extLst>
              <a:ext uri="{FF2B5EF4-FFF2-40B4-BE49-F238E27FC236}">
                <a16:creationId xmlns:a16="http://schemas.microsoft.com/office/drawing/2014/main" id="{03E4C113-143F-428D-A5B7-6093BCE0B6C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a:extLst>
              <a:ext uri="{FF2B5EF4-FFF2-40B4-BE49-F238E27FC236}">
                <a16:creationId xmlns:a16="http://schemas.microsoft.com/office/drawing/2014/main" id="{65E282E9-BD40-455D-A873-7CF49EFAED7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lgn="l" eaLnBrk="0" hangingPunct="0">
              <a:spcBef>
                <a:spcPct val="30000"/>
              </a:spcBef>
              <a:defRPr sz="2400">
                <a:solidFill>
                  <a:schemeClr val="tx1"/>
                </a:solidFill>
                <a:latin typeface="Times New Roman" panose="02020603050405020304" pitchFamily="18" charset="0"/>
              </a:defRPr>
            </a:lvl1pPr>
            <a:lvl2pPr marL="1467485" indent="-563880" algn="l" eaLnBrk="0" hangingPunct="0">
              <a:spcBef>
                <a:spcPct val="30000"/>
              </a:spcBef>
              <a:defRPr sz="2400">
                <a:solidFill>
                  <a:schemeClr val="tx1"/>
                </a:solidFill>
                <a:latin typeface="Times New Roman" panose="02020603050405020304" pitchFamily="18" charset="0"/>
              </a:defRPr>
            </a:lvl2pPr>
            <a:lvl3pPr marL="2259330" indent="-452120" algn="l" eaLnBrk="0" hangingPunct="0">
              <a:spcBef>
                <a:spcPct val="30000"/>
              </a:spcBef>
              <a:defRPr sz="2400">
                <a:solidFill>
                  <a:schemeClr val="tx1"/>
                </a:solidFill>
                <a:latin typeface="Times New Roman" panose="02020603050405020304" pitchFamily="18" charset="0"/>
              </a:defRPr>
            </a:lvl3pPr>
            <a:lvl4pPr marL="3162935" indent="-452120" algn="l" eaLnBrk="0" hangingPunct="0">
              <a:spcBef>
                <a:spcPct val="30000"/>
              </a:spcBef>
              <a:defRPr sz="2400">
                <a:solidFill>
                  <a:schemeClr val="tx1"/>
                </a:solidFill>
                <a:latin typeface="Times New Roman" panose="02020603050405020304" pitchFamily="18" charset="0"/>
              </a:defRPr>
            </a:lvl4pPr>
            <a:lvl5pPr marL="4066540" indent="-452120" algn="l" eaLnBrk="0" hangingPunct="0">
              <a:spcBef>
                <a:spcPct val="30000"/>
              </a:spcBef>
              <a:defRPr sz="2400">
                <a:solidFill>
                  <a:schemeClr val="tx1"/>
                </a:solidFill>
                <a:latin typeface="Times New Roman" panose="02020603050405020304" pitchFamily="18" charset="0"/>
              </a:defRPr>
            </a:lvl5pPr>
            <a:lvl6pPr marL="4964430" indent="-452120" eaLnBrk="0" fontAlgn="base" hangingPunct="0">
              <a:spcBef>
                <a:spcPct val="30000"/>
              </a:spcBef>
              <a:spcAft>
                <a:spcPct val="0"/>
              </a:spcAft>
              <a:defRPr sz="2400">
                <a:solidFill>
                  <a:schemeClr val="tx1"/>
                </a:solidFill>
                <a:latin typeface="Times New Roman" panose="02020603050405020304" pitchFamily="18" charset="0"/>
              </a:defRPr>
            </a:lvl6pPr>
            <a:lvl7pPr marL="5861685" indent="-452120" eaLnBrk="0" fontAlgn="base" hangingPunct="0">
              <a:spcBef>
                <a:spcPct val="30000"/>
              </a:spcBef>
              <a:spcAft>
                <a:spcPct val="0"/>
              </a:spcAft>
              <a:defRPr sz="2400">
                <a:solidFill>
                  <a:schemeClr val="tx1"/>
                </a:solidFill>
                <a:latin typeface="Times New Roman" panose="02020603050405020304" pitchFamily="18" charset="0"/>
              </a:defRPr>
            </a:lvl7pPr>
            <a:lvl8pPr marL="6758940" indent="-452120" eaLnBrk="0" fontAlgn="base" hangingPunct="0">
              <a:spcBef>
                <a:spcPct val="30000"/>
              </a:spcBef>
              <a:spcAft>
                <a:spcPct val="0"/>
              </a:spcAft>
              <a:defRPr sz="2400">
                <a:solidFill>
                  <a:schemeClr val="tx1"/>
                </a:solidFill>
                <a:latin typeface="Times New Roman" panose="02020603050405020304" pitchFamily="18" charset="0"/>
              </a:defRPr>
            </a:lvl8pPr>
            <a:lvl9pPr marL="7656830" indent="-452120" eaLnBrk="0" fontAlgn="base" hangingPunct="0">
              <a:spcBef>
                <a:spcPct val="30000"/>
              </a:spcBef>
              <a:spcAft>
                <a:spcPct val="0"/>
              </a:spcAft>
              <a:defRPr sz="2400">
                <a:solidFill>
                  <a:schemeClr val="tx1"/>
                </a:solidFill>
                <a:latin typeface="Times New Roman" panose="02020603050405020304" pitchFamily="18" charset="0"/>
              </a:defRPr>
            </a:lvl9pPr>
          </a:lstStyle>
          <a:p>
            <a:pPr algn="r">
              <a:spcBef>
                <a:spcPct val="0"/>
              </a:spcBef>
            </a:pPr>
            <a:fld id="{A4F21AAD-8F16-844D-A883-1A940E0366DB}" type="slidenum">
              <a:rPr lang="en-US" altLang="en-US"/>
              <a:t>9</a:t>
            </a:fld>
            <a:endParaRPr lang="en-US" altLang="en-US"/>
          </a:p>
        </p:txBody>
      </p:sp>
      <p:sp>
        <p:nvSpPr>
          <p:cNvPr id="36867" name="Rectangle 2"/>
          <p:cNvSpPr>
            <a:spLocks noGrp="1" noRot="1" noChangeAspect="1" noChangeArrowheads="1" noTextEdit="1"/>
          </p:cNvSpPr>
          <p:nvPr>
            <p:ph type="sldImg"/>
          </p:nvPr>
        </p:nvSpPr>
        <p:spPr>
          <a:xfrm>
            <a:off x="5930900" y="927100"/>
            <a:ext cx="8232775" cy="4630738"/>
          </a:xfrm>
        </p:spPr>
      </p:sp>
      <p:sp>
        <p:nvSpPr>
          <p:cNvPr id="36868" name="Rectangle 3"/>
          <p:cNvSpPr>
            <a:spLocks noGrp="1" noChangeArrowheads="1"/>
          </p:cNvSpPr>
          <p:nvPr>
            <p:ph type="body" idx="1"/>
          </p:nvPr>
        </p:nvSpPr>
        <p:spPr>
          <a:xfrm>
            <a:off x="2672309" y="5867040"/>
            <a:ext cx="14765802" cy="5558870"/>
          </a:xfr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GB" altLang="en-US">
              <a:latin typeface="Times New Roman" panose="02020603050405020304" pitchFamily="18"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55</a:t>
            </a:fld>
            <a:endParaRPr lang="de-DE"/>
          </a:p>
        </p:txBody>
      </p:sp>
    </p:spTree>
    <p:extLst>
      <p:ext uri="{BB962C8B-B14F-4D97-AF65-F5344CB8AC3E}">
        <p14:creationId xmlns:p14="http://schemas.microsoft.com/office/powerpoint/2010/main" val="347724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a:extLst>
              <a:ext uri="{FF2B5EF4-FFF2-40B4-BE49-F238E27FC236}">
                <a16:creationId xmlns:a16="http://schemas.microsoft.com/office/drawing/2014/main" id="{AFDEBDE4-E8B0-438F-8492-7B548F9CCC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a:extLst>
              <a:ext uri="{FF2B5EF4-FFF2-40B4-BE49-F238E27FC236}">
                <a16:creationId xmlns:a16="http://schemas.microsoft.com/office/drawing/2014/main" id="{DF4D02D7-B0C5-46D3-ACCE-5C6E9055526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38213" eaLnBrk="1" hangingPunct="1"/>
            <a:r>
              <a:rPr lang="en-US" altLang="en-US"/>
              <a:t>The Engineering School Profile feature was launched in September 2018. </a:t>
            </a:r>
            <a:r>
              <a:rPr lang="en-US" altLang="en-US" b="1"/>
              <a:t>(click) </a:t>
            </a:r>
            <a:r>
              <a:rPr lang="en-US" altLang="en-US"/>
              <a:t>To get to the Engineering School Profile feature, select it from the Search drop-down menu. </a:t>
            </a:r>
            <a:r>
              <a:rPr lang="en-US" altLang="en-US" b="1"/>
              <a:t>(click) </a:t>
            </a:r>
            <a:r>
              <a:rPr lang="en-US" altLang="en-US"/>
              <a:t>The feature was developed with Engineering School Deans and Department Chairs in mind as well as anyone who wants to know more about the research output of an Engineering School. For example, it can also be used by librarians who need to track and compile engineering research output at their university as well as by students who want to compare potential graduate schools, identify research experts within a university or compare universities.  The Engineering School Profile, also called ESP utilizes only Compendex data.  Compendex contains scholarly research from 190 different engineering disciplines and includes records from engineering researchers worldwide. </a:t>
            </a:r>
            <a:r>
              <a:rPr lang="en-US" altLang="en-US" b="1"/>
              <a:t>(click)</a:t>
            </a:r>
            <a:endParaRPr lang="en-US" altLang="en-US"/>
          </a:p>
        </p:txBody>
      </p:sp>
      <p:sp>
        <p:nvSpPr>
          <p:cNvPr id="4" name="Slide Number Placeholder 3">
            <a:extLst>
              <a:ext uri="{FF2B5EF4-FFF2-40B4-BE49-F238E27FC236}">
                <a16:creationId xmlns:a16="http://schemas.microsoft.com/office/drawing/2014/main" id="{96A19538-47CD-46F4-8433-70FF19BC9F65}"/>
              </a:ext>
            </a:extLst>
          </p:cNvPr>
          <p:cNvSpPr>
            <a:spLocks noGrp="1"/>
          </p:cNvSpPr>
          <p:nvPr>
            <p:ph type="sldNum" sz="quarter" idx="5"/>
          </p:nvPr>
        </p:nvSpPr>
        <p:spPr/>
        <p:txBody>
          <a:bodyPr/>
          <a:lstStyle/>
          <a:p>
            <a:pPr>
              <a:defRPr/>
            </a:pPr>
            <a:fld id="{AE85FBAD-A461-4F0F-A4B4-B8F0A99A48FD}" type="slidenum">
              <a:rPr lang="de-DE" smtClean="0"/>
              <a:pPr>
                <a:defRPr/>
              </a:pPr>
              <a:t>58</a:t>
            </a:fld>
            <a:endParaRPr lang="de-DE"/>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a:extLst>
              <a:ext uri="{FF2B5EF4-FFF2-40B4-BE49-F238E27FC236}">
                <a16:creationId xmlns:a16="http://schemas.microsoft.com/office/drawing/2014/main" id="{0954BCA7-4C0B-43CA-AC32-E567C1FE741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a:extLst>
              <a:ext uri="{FF2B5EF4-FFF2-40B4-BE49-F238E27FC236}">
                <a16:creationId xmlns:a16="http://schemas.microsoft.com/office/drawing/2014/main" id="{FFDFAD06-5C34-4153-95EC-988E7A490F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38213" eaLnBrk="1" hangingPunct="1"/>
            <a:r>
              <a:rPr lang="en-US" altLang="en-US"/>
              <a:t>The Engineering School Profile enables researchers to make data-driven decisions about grant funding,</a:t>
            </a:r>
            <a:r>
              <a:rPr lang="en-US" altLang="en-US" b="1"/>
              <a:t> (click) </a:t>
            </a:r>
            <a:r>
              <a:rPr lang="en-US" altLang="en-US"/>
              <a:t>identifying potential research collaborators or specialists within a university or where it would be best to publish. </a:t>
            </a:r>
            <a:r>
              <a:rPr lang="en-US" altLang="en-US" b="1"/>
              <a:t>(click) </a:t>
            </a:r>
            <a:r>
              <a:rPr lang="en-US" altLang="en-US"/>
              <a:t>The information is provided within a single, easy to navigate interface that is customizable and has multiple output capabilities.  All of this adds up to better information for evaluating a school’s engineering research output. </a:t>
            </a:r>
            <a:r>
              <a:rPr lang="en-US" altLang="en-US" b="1"/>
              <a:t>(click) </a:t>
            </a:r>
            <a:endParaRPr lang="en-US" altLang="en-US"/>
          </a:p>
        </p:txBody>
      </p:sp>
      <p:sp>
        <p:nvSpPr>
          <p:cNvPr id="4" name="Slide Number Placeholder 3">
            <a:extLst>
              <a:ext uri="{FF2B5EF4-FFF2-40B4-BE49-F238E27FC236}">
                <a16:creationId xmlns:a16="http://schemas.microsoft.com/office/drawing/2014/main" id="{FC17FCD7-0783-4294-A58A-1CD9D71D646C}"/>
              </a:ext>
            </a:extLst>
          </p:cNvPr>
          <p:cNvSpPr>
            <a:spLocks noGrp="1"/>
          </p:cNvSpPr>
          <p:nvPr>
            <p:ph type="sldNum" sz="quarter" idx="5"/>
          </p:nvPr>
        </p:nvSpPr>
        <p:spPr/>
        <p:txBody>
          <a:bodyPr/>
          <a:lstStyle/>
          <a:p>
            <a:pPr>
              <a:defRPr/>
            </a:pPr>
            <a:fld id="{03F48D22-184B-47FA-9D0D-F3B7B640E3FA}" type="slidenum">
              <a:rPr lang="de-DE" smtClean="0"/>
              <a:pPr>
                <a:defRPr/>
              </a:pPr>
              <a:t>59</a:t>
            </a:fld>
            <a:endParaRPr lang="de-DE"/>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4A54D107-E8DE-498A-9477-04B12C21A16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0" name="Rectangle 3">
            <a:extLst>
              <a:ext uri="{FF2B5EF4-FFF2-40B4-BE49-F238E27FC236}">
                <a16:creationId xmlns:a16="http://schemas.microsoft.com/office/drawing/2014/main" id="{999AA7A1-FB43-4A07-9928-36C2200AAD0F}"/>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a:extLst>
              <a:ext uri="{FF2B5EF4-FFF2-40B4-BE49-F238E27FC236}">
                <a16:creationId xmlns:a16="http://schemas.microsoft.com/office/drawing/2014/main" id="{5D3429F0-B5E3-45F7-B54D-9A678B81B02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2" name="Rectangle 3">
            <a:extLst>
              <a:ext uri="{FF2B5EF4-FFF2-40B4-BE49-F238E27FC236}">
                <a16:creationId xmlns:a16="http://schemas.microsoft.com/office/drawing/2014/main" id="{9B66F548-6020-40FB-A3AF-F4950BF74FCC}"/>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a:extLst>
              <a:ext uri="{FF2B5EF4-FFF2-40B4-BE49-F238E27FC236}">
                <a16:creationId xmlns:a16="http://schemas.microsoft.com/office/drawing/2014/main" id="{93713FC4-3F0E-4BF2-BC5E-34E3DE39638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6378317A-0860-4380-89AE-6A1717CAC648}"/>
              </a:ext>
            </a:extLst>
          </p:cNvPr>
          <p:cNvSpPr>
            <a:spLocks noGrp="1"/>
          </p:cNvSpPr>
          <p:nvPr>
            <p:ph type="body" idx="1"/>
          </p:nvPr>
        </p:nvSpPr>
        <p:spPr/>
        <p:txBody>
          <a:bodyPr/>
          <a:lstStyle/>
          <a:p>
            <a:pPr defTabSz="939363" eaLnBrk="1" fontAlgn="auto" hangingPunct="1">
              <a:spcBef>
                <a:spcPts val="0"/>
              </a:spcBef>
              <a:spcAft>
                <a:spcPts val="0"/>
              </a:spcAft>
              <a:defRPr/>
            </a:pPr>
            <a:r>
              <a:rPr lang="en-US" sz="936" dirty="0"/>
              <a:t>Engineering Village offers a wealth of help and support options within the question mark at the top of the page.  From there, you can search our help files, find contact information, learn about new product releases, launch tutorials and even link to video tutorials. </a:t>
            </a:r>
            <a:r>
              <a:rPr lang="en-US" sz="936" b="1" dirty="0"/>
              <a:t>(click)</a:t>
            </a:r>
          </a:p>
          <a:p>
            <a:pPr defTabSz="356616" eaLnBrk="1" fontAlgn="auto" hangingPunct="1">
              <a:spcBef>
                <a:spcPts val="0"/>
              </a:spcBef>
              <a:spcAft>
                <a:spcPts val="0"/>
              </a:spcAft>
              <a:defRPr/>
            </a:pPr>
            <a:endParaRPr lang="en-US" sz="936" dirty="0"/>
          </a:p>
        </p:txBody>
      </p:sp>
      <p:sp>
        <p:nvSpPr>
          <p:cNvPr id="109572" name="Slide Number Placeholder 3">
            <a:extLst>
              <a:ext uri="{FF2B5EF4-FFF2-40B4-BE49-F238E27FC236}">
                <a16:creationId xmlns:a16="http://schemas.microsoft.com/office/drawing/2014/main" id="{4FA46BC6-45EB-42DC-A9AD-6A9F1DE1C6D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defTabSz="355600" fontAlgn="base">
              <a:spcBef>
                <a:spcPct val="0"/>
              </a:spcBef>
              <a:spcAft>
                <a:spcPct val="0"/>
              </a:spcAft>
            </a:pPr>
            <a:fld id="{9F6EB2DB-A83D-49EB-A25D-1F7F68A4D449}" type="slidenum">
              <a:rPr lang="de-DE" altLang="en-US" sz="1200" smtClean="0">
                <a:latin typeface="Calibri" panose="020F0502020204030204" pitchFamily="34" charset="0"/>
              </a:rPr>
              <a:pPr defTabSz="355600" fontAlgn="base">
                <a:spcBef>
                  <a:spcPct val="0"/>
                </a:spcBef>
                <a:spcAft>
                  <a:spcPct val="0"/>
                </a:spcAft>
              </a:pPr>
              <a:t>67</a:t>
            </a:fld>
            <a:endParaRPr lang="de-DE" altLang="en-US" sz="1200">
              <a:latin typeface="Calibri" panose="020F0502020204030204"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B4F65D31-66C3-437E-87B4-F22BE0EBEBC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8" name="Rectangle 3">
            <a:extLst>
              <a:ext uri="{FF2B5EF4-FFF2-40B4-BE49-F238E27FC236}">
                <a16:creationId xmlns:a16="http://schemas.microsoft.com/office/drawing/2014/main" id="{DF536072-42B3-4247-8AEA-6B891D85131F}"/>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4782BAB5-E52A-4D25-844A-E794C8D55BF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6684D330-A28A-400E-9D9B-26261CCE5B27}"/>
              </a:ext>
            </a:extLst>
          </p:cNvPr>
          <p:cNvSpPr>
            <a:spLocks noGrp="1"/>
          </p:cNvSpPr>
          <p:nvPr>
            <p:ph type="body" idx="1"/>
          </p:nvPr>
        </p:nvSpPr>
        <p:spPr/>
        <p:txBody>
          <a:bodyPr/>
          <a:lstStyle/>
          <a:p>
            <a:pPr defTabSz="356616" eaLnBrk="1" fontAlgn="auto" hangingPunct="1">
              <a:spcBef>
                <a:spcPts val="0"/>
              </a:spcBef>
              <a:spcAft>
                <a:spcPts val="0"/>
              </a:spcAft>
              <a:defRPr/>
            </a:pPr>
            <a:r>
              <a:rPr lang="zh-CN" altLang="en-US" sz="936" dirty="0"/>
              <a:t>科研工作者的压力，如何快捷的获取信息，并将信息转变为知识，已经如何更好的传播知识。</a:t>
            </a:r>
            <a:endParaRPr lang="en-US" sz="936" dirty="0"/>
          </a:p>
        </p:txBody>
      </p:sp>
      <p:sp>
        <p:nvSpPr>
          <p:cNvPr id="114692" name="Slide Number Placeholder 3">
            <a:extLst>
              <a:ext uri="{FF2B5EF4-FFF2-40B4-BE49-F238E27FC236}">
                <a16:creationId xmlns:a16="http://schemas.microsoft.com/office/drawing/2014/main" id="{B7A59376-AA27-4E3D-AA2C-1B96D003A37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defTabSz="355600" fontAlgn="base">
              <a:spcBef>
                <a:spcPct val="0"/>
              </a:spcBef>
              <a:spcAft>
                <a:spcPct val="0"/>
              </a:spcAft>
            </a:pPr>
            <a:fld id="{5CFE8326-13DF-4EC2-8C8B-ABBAFA5984CB}" type="slidenum">
              <a:rPr lang="en-US" altLang="en-US" sz="1200" smtClean="0">
                <a:latin typeface="Calibri" panose="020F0502020204030204" pitchFamily="34" charset="0"/>
              </a:rPr>
              <a:pPr defTabSz="355600" fontAlgn="base">
                <a:spcBef>
                  <a:spcPct val="0"/>
                </a:spcBef>
                <a:spcAft>
                  <a:spcPct val="0"/>
                </a:spcAft>
              </a:pPr>
              <a:t>71</a:t>
            </a:fld>
            <a:endParaRPr lang="en-US" altLang="en-US" sz="1200">
              <a:latin typeface="Calibri" panose="020F050202020403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pasibo</a:t>
            </a:r>
            <a:r>
              <a:rPr lang="en-US" dirty="0"/>
              <a:t>!</a:t>
            </a:r>
          </a:p>
        </p:txBody>
      </p:sp>
      <p:sp>
        <p:nvSpPr>
          <p:cNvPr id="4" name="Slide Number Placeholder 3"/>
          <p:cNvSpPr>
            <a:spLocks noGrp="1"/>
          </p:cNvSpPr>
          <p:nvPr>
            <p:ph type="sldNum" sz="quarter" idx="10"/>
          </p:nvPr>
        </p:nvSpPr>
        <p:spPr/>
        <p:txBody>
          <a:bodyPr/>
          <a:lstStyle/>
          <a:p>
            <a:fld id="{A8630C6B-FC7B-40A0-8C53-512A33BF3BEB}" type="slidenum">
              <a:rPr lang="en-US" smtClean="0"/>
              <a:t>72</a:t>
            </a:fld>
            <a:endParaRPr lang="en-US"/>
          </a:p>
        </p:txBody>
      </p:sp>
    </p:spTree>
    <p:extLst>
      <p:ext uri="{BB962C8B-B14F-4D97-AF65-F5344CB8AC3E}">
        <p14:creationId xmlns:p14="http://schemas.microsoft.com/office/powerpoint/2010/main" val="24537746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12</a:t>
            </a:fld>
            <a:endParaRPr lang="de-DE"/>
          </a:p>
        </p:txBody>
      </p:sp>
    </p:spTree>
    <p:extLst>
      <p:ext uri="{BB962C8B-B14F-4D97-AF65-F5344CB8AC3E}">
        <p14:creationId xmlns:p14="http://schemas.microsoft.com/office/powerpoint/2010/main" val="777501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t>17</a:t>
            </a:fld>
            <a:endParaRPr lang="en-US" dirty="0"/>
          </a:p>
        </p:txBody>
      </p:sp>
    </p:spTree>
    <p:extLst>
      <p:ext uri="{BB962C8B-B14F-4D97-AF65-F5344CB8AC3E}">
        <p14:creationId xmlns:p14="http://schemas.microsoft.com/office/powerpoint/2010/main" val="1846984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Indexing drives precision and recall</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n conducting searches, users most often want to find a comprehensive (</a:t>
            </a:r>
            <a:r>
              <a:rPr lang="en-US" sz="1200" i="1" kern="1200" dirty="0">
                <a:solidFill>
                  <a:schemeClr val="tx1"/>
                </a:solidFill>
                <a:effectLst/>
                <a:latin typeface="+mn-lt"/>
                <a:ea typeface="+mn-ea"/>
                <a:cs typeface="+mn-cs"/>
              </a:rPr>
              <a:t>this is recall</a:t>
            </a:r>
            <a:r>
              <a:rPr lang="en-US" sz="1200" kern="1200" dirty="0">
                <a:solidFill>
                  <a:schemeClr val="tx1"/>
                </a:solidFill>
                <a:effectLst/>
                <a:latin typeface="+mn-lt"/>
                <a:ea typeface="+mn-ea"/>
                <a:cs typeface="+mn-cs"/>
              </a:rPr>
              <a:t>) and relevant (</a:t>
            </a:r>
            <a:r>
              <a:rPr lang="en-US" sz="1200" i="1" kern="1200" dirty="0">
                <a:solidFill>
                  <a:schemeClr val="tx1"/>
                </a:solidFill>
                <a:effectLst/>
                <a:latin typeface="+mn-lt"/>
                <a:ea typeface="+mn-ea"/>
                <a:cs typeface="+mn-cs"/>
              </a:rPr>
              <a:t>this is precision</a:t>
            </a:r>
            <a:r>
              <a:rPr lang="en-US" sz="1200" kern="1200" dirty="0">
                <a:solidFill>
                  <a:schemeClr val="tx1"/>
                </a:solidFill>
                <a:effectLst/>
                <a:latin typeface="+mn-lt"/>
                <a:ea typeface="+mn-ea"/>
                <a:cs typeface="+mn-cs"/>
              </a:rPr>
              <a:t>) list of documents on a certain subject or group of related subjects.</a:t>
            </a:r>
          </a:p>
          <a:p>
            <a:r>
              <a:rPr lang="en-US" sz="1200" kern="1200" dirty="0">
                <a:solidFill>
                  <a:schemeClr val="tx1"/>
                </a:solidFill>
                <a:effectLst/>
                <a:latin typeface="+mn-lt"/>
                <a:ea typeface="+mn-ea"/>
                <a:cs typeface="+mn-cs"/>
              </a:rPr>
              <a:t>The way we are currently indexing documents in Compendex is not by simply adding a few terms from the thesaurus to a record, but by incorporating search strategies into the rules written that govern the application of each term, such that a researcher who might not be searching in Compendex….</a:t>
            </a:r>
            <a:endParaRPr lang="en-US" dirty="0"/>
          </a:p>
        </p:txBody>
      </p:sp>
      <p:sp>
        <p:nvSpPr>
          <p:cNvPr id="4" name="Slide Number Placeholder 3"/>
          <p:cNvSpPr>
            <a:spLocks noGrp="1"/>
          </p:cNvSpPr>
          <p:nvPr>
            <p:ph type="sldNum" sz="quarter" idx="10"/>
          </p:nvPr>
        </p:nvSpPr>
        <p:spPr/>
        <p:txBody>
          <a:bodyPr/>
          <a:lstStyle/>
          <a:p>
            <a:fld id="{6FBB7E5B-DC8C-4864-96EE-2CAB1B29C12B}"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7017048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igh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therwise need to write a search query that is perhaps 2.5 pages long to discover a set of relevant results, whereas in Compendex, the researcher would only need to type in a simple term or phrase from our controlled vocabulary…</a:t>
            </a:r>
            <a:endParaRPr lang="en-US" dirty="0"/>
          </a:p>
        </p:txBody>
      </p:sp>
      <p:sp>
        <p:nvSpPr>
          <p:cNvPr id="4" name="Slide Number Placeholder 3"/>
          <p:cNvSpPr>
            <a:spLocks noGrp="1"/>
          </p:cNvSpPr>
          <p:nvPr>
            <p:ph type="sldNum" sz="quarter" idx="10"/>
          </p:nvPr>
        </p:nvSpPr>
        <p:spPr/>
        <p:txBody>
          <a:bodyPr/>
          <a:lstStyle/>
          <a:p>
            <a:fld id="{6FBB7E5B-DC8C-4864-96EE-2CAB1B29C12B}"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669433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o, in this example – the researcher is looking for rechargeable batteries and is redirected to all relevant records indexed with our controlled vocabulary, ‘</a:t>
            </a:r>
            <a:r>
              <a:rPr lang="en-US" sz="1200" b="1" kern="1200" dirty="0">
                <a:solidFill>
                  <a:schemeClr val="tx1"/>
                </a:solidFill>
                <a:effectLst/>
                <a:latin typeface="+mn-lt"/>
                <a:ea typeface="+mn-ea"/>
                <a:cs typeface="+mn-cs"/>
              </a:rPr>
              <a:t>secondary batteries</a:t>
            </a:r>
            <a:r>
              <a:rPr lang="en-US" sz="1200" kern="1200" dirty="0">
                <a:solidFill>
                  <a:schemeClr val="tx1"/>
                </a:solidFill>
                <a:effectLst/>
                <a:latin typeface="+mn-lt"/>
                <a:ea typeface="+mn-ea"/>
                <a:cs typeface="+mn-cs"/>
              </a:rPr>
              <a:t>’. Please also note that in Quick Search we facilitate the use of controlled vocabulary through our AutoComplete function which is </a:t>
            </a:r>
            <a:r>
              <a:rPr lang="en-US" sz="1200" b="1" kern="1200" dirty="0">
                <a:solidFill>
                  <a:schemeClr val="tx1"/>
                </a:solidFill>
                <a:effectLst/>
                <a:latin typeface="+mn-lt"/>
                <a:ea typeface="+mn-ea"/>
                <a:cs typeface="+mn-cs"/>
              </a:rPr>
              <a:t>powered by the </a:t>
            </a:r>
            <a:r>
              <a:rPr lang="en-US" sz="1200" b="1" kern="1200" dirty="0" err="1">
                <a:solidFill>
                  <a:schemeClr val="tx1"/>
                </a:solidFill>
                <a:effectLst/>
                <a:latin typeface="+mn-lt"/>
                <a:ea typeface="+mn-ea"/>
                <a:cs typeface="+mn-cs"/>
              </a:rPr>
              <a:t>Ei</a:t>
            </a:r>
            <a:r>
              <a:rPr lang="en-US" sz="1200" b="1" kern="1200" dirty="0">
                <a:solidFill>
                  <a:schemeClr val="tx1"/>
                </a:solidFill>
                <a:effectLst/>
                <a:latin typeface="+mn-lt"/>
                <a:ea typeface="+mn-ea"/>
                <a:cs typeface="+mn-cs"/>
              </a:rPr>
              <a:t> Thesaurus and our rules base</a:t>
            </a:r>
            <a:r>
              <a:rPr lang="en-US" sz="120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6FBB7E5B-DC8C-4864-96EE-2CAB1B29C12B}"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403848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C7433D6E-6C5A-4B5D-9A34-F6ABB284E51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0" name="Rectangle 3">
            <a:extLst>
              <a:ext uri="{FF2B5EF4-FFF2-40B4-BE49-F238E27FC236}">
                <a16:creationId xmlns:a16="http://schemas.microsoft.com/office/drawing/2014/main" id="{7CA700B8-0476-475B-9127-B44F1E28E6E5}"/>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en-US" noProof="0"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3631053711"/>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guide id="8" orient="horz"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4" name="Content Placeholder 2"/>
          <p:cNvSpPr>
            <a:spLocks noGrp="1"/>
          </p:cNvSpPr>
          <p:nvPr>
            <p:ph sz="quarter" idx="16"/>
          </p:nvPr>
        </p:nvSpPr>
        <p:spPr>
          <a:xfrm>
            <a:off x="576263" y="1061276"/>
            <a:ext cx="7991475" cy="326942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1">
            <a:extLst>
              <a:ext uri="{FF2B5EF4-FFF2-40B4-BE49-F238E27FC236}">
                <a16:creationId xmlns:a16="http://schemas.microsoft.com/office/drawing/2014/main" id="{B3A48600-CE42-470F-A4E4-E1891D42B402}"/>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90443739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0" name="Text Placeholder 8"/>
          <p:cNvSpPr>
            <a:spLocks noGrp="1"/>
          </p:cNvSpPr>
          <p:nvPr>
            <p:ph type="body" sz="quarter" idx="23" hasCustomPrompt="1"/>
          </p:nvPr>
        </p:nvSpPr>
        <p:spPr>
          <a:xfrm>
            <a:off x="4770841" y="1064854"/>
            <a:ext cx="3796897" cy="3264797"/>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Slide Number Placeholder 1">
            <a:extLst>
              <a:ext uri="{FF2B5EF4-FFF2-40B4-BE49-F238E27FC236}">
                <a16:creationId xmlns:a16="http://schemas.microsoft.com/office/drawing/2014/main" id="{9E976D61-2862-4E57-B8E8-87A55AB5098A}"/>
              </a:ext>
            </a:extLst>
          </p:cNvPr>
          <p:cNvSpPr>
            <a:spLocks noGrp="1"/>
          </p:cNvSpPr>
          <p:nvPr>
            <p:ph type="sldNum" sz="quarter" idx="25"/>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4770842" y="1064853"/>
            <a:ext cx="3796896" cy="3264797"/>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p:txBody>
      </p:sp>
      <p:sp>
        <p:nvSpPr>
          <p:cNvPr id="2" name="Slide Number Placeholder 1">
            <a:extLst>
              <a:ext uri="{FF2B5EF4-FFF2-40B4-BE49-F238E27FC236}">
                <a16:creationId xmlns:a16="http://schemas.microsoft.com/office/drawing/2014/main" id="{A0625F2F-AC4C-4C55-A66F-3404D0ACACA7}"/>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06995729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57200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6" name="Straight Connector 15"/>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dirty="0"/>
          </a:p>
        </p:txBody>
      </p:sp>
      <p:sp>
        <p:nvSpPr>
          <p:cNvPr id="8" name="Title 1"/>
          <p:cNvSpPr>
            <a:spLocks noGrp="1"/>
          </p:cNvSpPr>
          <p:nvPr>
            <p:ph type="title" hasCustomPrompt="1"/>
          </p:nvPr>
        </p:nvSpPr>
        <p:spPr>
          <a:xfrm>
            <a:off x="576263"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323183506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519277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3386666" y="1064853"/>
            <a:ext cx="5181071"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24" hasCustomPrompt="1"/>
          </p:nvPr>
        </p:nvSpPr>
        <p:spPr>
          <a:xfrm>
            <a:off x="576264" y="1064853"/>
            <a:ext cx="2641070"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de-DE"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de-DE"/>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nl-NL" smtClean="0"/>
              <a:pPr/>
              <a:t>‹#›</a:t>
            </a:fld>
            <a:endParaRPr lang="nl-NL"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de-DE"/>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6" name="Footer Placeholder 5"/>
          <p:cNvSpPr>
            <a:spLocks noGrp="1"/>
          </p:cNvSpPr>
          <p:nvPr>
            <p:ph type="ftr" sz="quarter" idx="11"/>
          </p:nvPr>
        </p:nvSpPr>
        <p:spPr/>
        <p:txBody>
          <a:bodyPr/>
          <a:lstStyle/>
          <a:p>
            <a:endParaRPr lang="de-DE"/>
          </a:p>
        </p:txBody>
      </p:sp>
      <p:sp>
        <p:nvSpPr>
          <p:cNvPr id="7" name="Title 1"/>
          <p:cNvSpPr>
            <a:spLocks noGrp="1"/>
          </p:cNvSpPr>
          <p:nvPr>
            <p:ph type="title" hasCustomPrompt="1"/>
          </p:nvPr>
        </p:nvSpPr>
        <p:spPr>
          <a:xfrm>
            <a:off x="576263" y="438428"/>
            <a:ext cx="6248399" cy="2830088"/>
          </a:xfrm>
          <a:prstGeom prst="rect">
            <a:avLst/>
          </a:prstGeom>
        </p:spPr>
        <p:txBody>
          <a:bodyPr lIns="0" tIns="0" rIns="0">
            <a:normAutofit/>
          </a:bodyPr>
          <a:lstStyle>
            <a:lvl1pPr marL="177800" indent="-177800">
              <a:lnSpc>
                <a:spcPct val="100000"/>
              </a:lnSpc>
              <a:defRPr sz="36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816578"/>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noProof="0" dirty="0"/>
              <a:t>Drag picture to placeholder or click icon to add</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chemeClr val="bg1"/>
                </a:solidFill>
              </a:defRPr>
            </a:lvl1pPr>
          </a:lstStyle>
          <a:p>
            <a:r>
              <a:rPr lang="en-US" dirty="0"/>
              <a:t>“Quote”</a:t>
            </a:r>
            <a:endParaRPr lang="de-DE" dirty="0"/>
          </a:p>
        </p:txBody>
      </p:sp>
      <p:sp>
        <p:nvSpPr>
          <p:cNvPr id="2" name="Date Placeholder 1">
            <a:extLst>
              <a:ext uri="{FF2B5EF4-FFF2-40B4-BE49-F238E27FC236}">
                <a16:creationId xmlns:a16="http://schemas.microsoft.com/office/drawing/2014/main" id="{1ABBFE6F-AC76-4679-9E64-F380BE313D6C}"/>
              </a:ext>
            </a:extLst>
          </p:cNvPr>
          <p:cNvSpPr>
            <a:spLocks noGrp="1"/>
          </p:cNvSpPr>
          <p:nvPr>
            <p:ph type="dt" sz="half" idx="14"/>
          </p:nvPr>
        </p:nvSpPr>
        <p:spPr/>
        <p:txBody>
          <a:bodyPr/>
          <a:lstStyle/>
          <a:p>
            <a:endParaRPr lang="de-DE" dirty="0"/>
          </a:p>
        </p:txBody>
      </p:sp>
      <p:sp>
        <p:nvSpPr>
          <p:cNvPr id="3" name="Footer Placeholder 2">
            <a:extLst>
              <a:ext uri="{FF2B5EF4-FFF2-40B4-BE49-F238E27FC236}">
                <a16:creationId xmlns:a16="http://schemas.microsoft.com/office/drawing/2014/main" id="{5DFBBB88-9E69-4056-89B7-53EC38D70961}"/>
              </a:ext>
            </a:extLst>
          </p:cNvPr>
          <p:cNvSpPr>
            <a:spLocks noGrp="1"/>
          </p:cNvSpPr>
          <p:nvPr>
            <p:ph type="ftr" sz="quarter" idx="15"/>
          </p:nvPr>
        </p:nvSpPr>
        <p:spPr/>
        <p:txBody>
          <a:bodyPr/>
          <a:lstStyle/>
          <a:p>
            <a:endParaRPr lang="de-DE"/>
          </a:p>
        </p:txBody>
      </p:sp>
      <p:sp>
        <p:nvSpPr>
          <p:cNvPr id="5" name="Slide Number Placeholder 4">
            <a:extLst>
              <a:ext uri="{FF2B5EF4-FFF2-40B4-BE49-F238E27FC236}">
                <a16:creationId xmlns:a16="http://schemas.microsoft.com/office/drawing/2014/main" id="{17C05264-44CE-4711-9D87-DAAF6AB89A00}"/>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19503286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nl-NL" dirty="0"/>
              <a:t>Drag </a:t>
            </a:r>
            <a:r>
              <a:rPr lang="en-US" noProof="0" dirty="0"/>
              <a:t>picture</a:t>
            </a:r>
            <a:r>
              <a:rPr lang="nl-NL" dirty="0"/>
              <a:t> to placeholder or click icon to 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rgbClr val="53565A"/>
                </a:solidFill>
              </a:defRPr>
            </a:lvl1pPr>
          </a:lstStyle>
          <a:p>
            <a:r>
              <a:rPr lang="en-US" dirty="0"/>
              <a:t>“Quote”</a:t>
            </a:r>
            <a:endParaRPr lang="de-DE" dirty="0"/>
          </a:p>
        </p:txBody>
      </p:sp>
      <p:sp>
        <p:nvSpPr>
          <p:cNvPr id="2" name="Date Placeholder 1">
            <a:extLst>
              <a:ext uri="{FF2B5EF4-FFF2-40B4-BE49-F238E27FC236}">
                <a16:creationId xmlns:a16="http://schemas.microsoft.com/office/drawing/2014/main" id="{08365055-2F6D-417F-BBA6-C10DAAE3715D}"/>
              </a:ext>
            </a:extLst>
          </p:cNvPr>
          <p:cNvSpPr>
            <a:spLocks noGrp="1"/>
          </p:cNvSpPr>
          <p:nvPr>
            <p:ph type="dt" sz="half" idx="14"/>
          </p:nvPr>
        </p:nvSpPr>
        <p:spPr/>
        <p:txBody>
          <a:bodyPr/>
          <a:lstStyle/>
          <a:p>
            <a:endParaRPr lang="de-DE" dirty="0"/>
          </a:p>
        </p:txBody>
      </p:sp>
      <p:sp>
        <p:nvSpPr>
          <p:cNvPr id="3" name="Footer Placeholder 2">
            <a:extLst>
              <a:ext uri="{FF2B5EF4-FFF2-40B4-BE49-F238E27FC236}">
                <a16:creationId xmlns:a16="http://schemas.microsoft.com/office/drawing/2014/main" id="{8875FA76-4DC3-400C-99FB-FD541C7E126E}"/>
              </a:ext>
            </a:extLst>
          </p:cNvPr>
          <p:cNvSpPr>
            <a:spLocks noGrp="1"/>
          </p:cNvSpPr>
          <p:nvPr>
            <p:ph type="ftr" sz="quarter" idx="15"/>
          </p:nvPr>
        </p:nvSpPr>
        <p:spPr/>
        <p:txBody>
          <a:bodyPr/>
          <a:lstStyle/>
          <a:p>
            <a:endParaRPr lang="de-DE"/>
          </a:p>
        </p:txBody>
      </p:sp>
      <p:sp>
        <p:nvSpPr>
          <p:cNvPr id="5" name="Slide Number Placeholder 4">
            <a:extLst>
              <a:ext uri="{FF2B5EF4-FFF2-40B4-BE49-F238E27FC236}">
                <a16:creationId xmlns:a16="http://schemas.microsoft.com/office/drawing/2014/main" id="{AD9EA606-AA5D-472D-BDF2-632060A3AEEE}"/>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770842" y="1064853"/>
            <a:ext cx="3796896"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9"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2" name="Slide Number Placeholder 1">
            <a:extLst>
              <a:ext uri="{FF2B5EF4-FFF2-40B4-BE49-F238E27FC236}">
                <a16:creationId xmlns:a16="http://schemas.microsoft.com/office/drawing/2014/main" id="{1681CDB7-F1FB-4B42-A147-08AEEE45517D}"/>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803182024"/>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7" orient="horz" pos="286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dark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de-DE" dirty="0"/>
              <a:t>Click on </a:t>
            </a:r>
            <a:r>
              <a:rPr lang="de-DE" dirty="0" err="1"/>
              <a:t>icon</a:t>
            </a:r>
            <a:r>
              <a:rPr lang="de-DE" dirty="0"/>
              <a:t> </a:t>
            </a:r>
            <a:r>
              <a:rPr lang="de-DE" dirty="0" err="1"/>
              <a:t>to</a:t>
            </a:r>
            <a:r>
              <a:rPr lang="de-DE" dirty="0"/>
              <a:t> </a:t>
            </a:r>
            <a:r>
              <a:rPr lang="de-DE" dirty="0" err="1"/>
              <a:t>select</a:t>
            </a:r>
            <a:r>
              <a:rPr lang="de-DE" dirty="0"/>
              <a:t> </a:t>
            </a:r>
            <a:r>
              <a:rPr lang="de-DE" dirty="0" err="1"/>
              <a:t>picture</a:t>
            </a:r>
            <a:endParaRPr lang="de-DE" dirty="0"/>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770842" y="1064853"/>
            <a:ext cx="3796897" cy="3262031"/>
          </a:xfrm>
          <a:prstGeom prst="rect">
            <a:avLst/>
          </a:prstGeom>
        </p:spPr>
        <p:txBody>
          <a:bodyPr/>
          <a:lstStyle>
            <a:lvl1pPr marL="0" indent="0">
              <a:lnSpc>
                <a:spcPct val="100000"/>
              </a:lnSpc>
              <a:buNone/>
              <a:defRPr/>
            </a:lvl1pPr>
          </a:lstStyle>
          <a:p>
            <a:r>
              <a:rPr lang="en-US" noProof="0" dirty="0"/>
              <a:t>Click icon to add chart</a:t>
            </a:r>
          </a:p>
        </p:txBody>
      </p:sp>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endParaRPr lang="de-DE"/>
          </a:p>
        </p:txBody>
      </p:sp>
      <p:sp>
        <p:nvSpPr>
          <p:cNvPr id="5" name="Footer Placeholder 4"/>
          <p:cNvSpPr>
            <a:spLocks noGrp="1"/>
          </p:cNvSpPr>
          <p:nvPr>
            <p:ph type="ftr" sz="quarter" idx="17"/>
          </p:nvPr>
        </p:nvSpPr>
        <p:spPr/>
        <p:txBody>
          <a:bodyPr/>
          <a:lstStyle/>
          <a:p>
            <a:endParaRPr lang="de-DE"/>
          </a:p>
        </p:txBody>
      </p:sp>
      <p:sp>
        <p:nvSpPr>
          <p:cNvPr id="9"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2" name="Slide Number Placeholder 1">
            <a:extLst>
              <a:ext uri="{FF2B5EF4-FFF2-40B4-BE49-F238E27FC236}">
                <a16:creationId xmlns:a16="http://schemas.microsoft.com/office/drawing/2014/main" id="{B9B6078E-5236-4C50-BFF2-6AA9D1393BCC}"/>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4186272090"/>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17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1064853"/>
            <a:ext cx="7990393"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 name="Slide Number Placeholder 1">
            <a:extLst>
              <a:ext uri="{FF2B5EF4-FFF2-40B4-BE49-F238E27FC236}">
                <a16:creationId xmlns:a16="http://schemas.microsoft.com/office/drawing/2014/main" id="{6DE2800B-24FC-46DB-A18B-E86175602D2C}"/>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83137439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3" name="Chart Placeholder 5"/>
          <p:cNvSpPr>
            <a:spLocks noGrp="1"/>
          </p:cNvSpPr>
          <p:nvPr>
            <p:ph type="chart" sz="quarter" idx="19"/>
          </p:nvPr>
        </p:nvSpPr>
        <p:spPr>
          <a:xfrm>
            <a:off x="4770841"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14" name="Chart Placeholder 5"/>
          <p:cNvSpPr>
            <a:spLocks noGrp="1"/>
          </p:cNvSpPr>
          <p:nvPr>
            <p:ph type="chart" sz="quarter" idx="15"/>
          </p:nvPr>
        </p:nvSpPr>
        <p:spPr>
          <a:xfrm>
            <a:off x="576262"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2" name="Slide Number Placeholder 1">
            <a:extLst>
              <a:ext uri="{FF2B5EF4-FFF2-40B4-BE49-F238E27FC236}">
                <a16:creationId xmlns:a16="http://schemas.microsoft.com/office/drawing/2014/main" id="{020C0439-BFBB-47FF-94FA-EC6D2990CD80}"/>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Chart Placeholder 5"/>
          <p:cNvSpPr>
            <a:spLocks noGrp="1"/>
          </p:cNvSpPr>
          <p:nvPr>
            <p:ph type="chart" sz="quarter" idx="18"/>
          </p:nvPr>
        </p:nvSpPr>
        <p:spPr>
          <a:xfrm>
            <a:off x="3331899"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9" name="Chart Placeholder 5"/>
          <p:cNvSpPr>
            <a:spLocks noGrp="1"/>
          </p:cNvSpPr>
          <p:nvPr>
            <p:ph type="chart" sz="quarter" idx="19"/>
          </p:nvPr>
        </p:nvSpPr>
        <p:spPr>
          <a:xfrm>
            <a:off x="608753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2" name="Slide Number Placeholder 1">
            <a:extLst>
              <a:ext uri="{FF2B5EF4-FFF2-40B4-BE49-F238E27FC236}">
                <a16:creationId xmlns:a16="http://schemas.microsoft.com/office/drawing/2014/main" id="{351F6C02-833A-45E3-A60F-2BA4F947F69F}"/>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endParaRPr lang="de-DE"/>
          </a:p>
        </p:txBody>
      </p:sp>
      <p:sp>
        <p:nvSpPr>
          <p:cNvPr id="6" name="Footer Placeholder 5"/>
          <p:cNvSpPr>
            <a:spLocks noGrp="1"/>
          </p:cNvSpPr>
          <p:nvPr>
            <p:ph type="ftr" sz="quarter" idx="18"/>
          </p:nvPr>
        </p:nvSpPr>
        <p:spPr/>
        <p:txBody>
          <a:bodyPr/>
          <a:lstStyle/>
          <a:p>
            <a:endParaRPr lang="de-DE"/>
          </a:p>
        </p:txBody>
      </p:sp>
      <p:sp>
        <p:nvSpPr>
          <p:cNvPr id="10" name="Table Placeholder 6"/>
          <p:cNvSpPr>
            <a:spLocks noGrp="1"/>
          </p:cNvSpPr>
          <p:nvPr>
            <p:ph type="tbl" sz="quarter" idx="16"/>
          </p:nvPr>
        </p:nvSpPr>
        <p:spPr>
          <a:xfrm>
            <a:off x="576261" y="1064853"/>
            <a:ext cx="7990394" cy="3269526"/>
          </a:xfrm>
          <a:prstGeom prst="rect">
            <a:avLst/>
          </a:prstGeom>
        </p:spPr>
        <p:txBody>
          <a:bodyPr/>
          <a:lstStyle>
            <a:lvl1pPr marL="0" indent="0">
              <a:lnSpc>
                <a:spcPct val="100000"/>
              </a:lnSpc>
              <a:buNone/>
              <a:defRPr/>
            </a:lvl1pPr>
          </a:lstStyle>
          <a:p>
            <a:r>
              <a:rPr lang="en-US" noProof="0" dirty="0"/>
              <a:t>Click icon to add table</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 name="Slide Number Placeholder 1">
            <a:extLst>
              <a:ext uri="{FF2B5EF4-FFF2-40B4-BE49-F238E27FC236}">
                <a16:creationId xmlns:a16="http://schemas.microsoft.com/office/drawing/2014/main" id="{485098A0-7760-416A-AC9B-C6883CB575CB}"/>
              </a:ext>
            </a:extLst>
          </p:cNvPr>
          <p:cNvSpPr>
            <a:spLocks noGrp="1"/>
          </p:cNvSpPr>
          <p:nvPr>
            <p:ph type="sldNum" sz="quarter" idx="19"/>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782012608"/>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484253" y="4144980"/>
            <a:ext cx="5112709" cy="448866"/>
          </a:xfrm>
          <a:prstGeom prst="rect">
            <a:avLst/>
          </a:prstGeom>
        </p:spPr>
        <p:txBody>
          <a:bodyPr>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endParaRPr lang="de-DE" dirty="0"/>
          </a:p>
        </p:txBody>
      </p:sp>
      <p:sp>
        <p:nvSpPr>
          <p:cNvPr id="7" name="TextBox 6"/>
          <p:cNvSpPr txBox="1"/>
          <p:nvPr userDrawn="1"/>
        </p:nvSpPr>
        <p:spPr>
          <a:xfrm>
            <a:off x="469263" y="2014789"/>
            <a:ext cx="3905250" cy="861774"/>
          </a:xfrm>
          <a:prstGeom prst="rect">
            <a:avLst/>
          </a:prstGeom>
          <a:noFill/>
        </p:spPr>
        <p:txBody>
          <a:bodyPr wrap="square" rtlCol="0">
            <a:spAutoFit/>
          </a:bodyPr>
          <a:lstStyle/>
          <a:p>
            <a:r>
              <a:rPr lang="en-US" sz="5000" kern="1200" noProof="0" dirty="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0"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394609758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orient="horz" pos="373" userDrawn="1">
          <p15:clr>
            <a:srgbClr val="FBAE40"/>
          </p15:clr>
        </p15:guide>
        <p15:guide id="6" pos="5397" userDrawn="1">
          <p15:clr>
            <a:srgbClr val="FBAE40"/>
          </p15:clr>
        </p15:guide>
        <p15:guide id="7" orient="horz" pos="286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5" y="1043177"/>
            <a:ext cx="2743617" cy="3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101" y="372980"/>
            <a:ext cx="8514275" cy="445169"/>
          </a:xfrm>
          <a:prstGeom prst="rect">
            <a:avLst/>
          </a:prstGeom>
        </p:spPr>
        <p:txBody>
          <a:bodyPr/>
          <a:lstStyle>
            <a:lvl1pPr>
              <a:defRPr sz="1800" b="1"/>
            </a:lvl1pPr>
          </a:lstStyle>
          <a:p>
            <a:r>
              <a:rPr lang="en-US" dirty="0"/>
              <a:t>Click to edit title</a:t>
            </a:r>
          </a:p>
        </p:txBody>
      </p:sp>
      <p:sp>
        <p:nvSpPr>
          <p:cNvPr id="11" name="Text Placeholder 13"/>
          <p:cNvSpPr>
            <a:spLocks noGrp="1"/>
          </p:cNvSpPr>
          <p:nvPr>
            <p:ph type="body" sz="quarter" idx="18" hasCustomPrompt="1"/>
          </p:nvPr>
        </p:nvSpPr>
        <p:spPr>
          <a:xfrm>
            <a:off x="292101" y="959644"/>
            <a:ext cx="5939888" cy="3661593"/>
          </a:xfrm>
          <a:prstGeom prst="rect">
            <a:avLst/>
          </a:prstGeom>
        </p:spPr>
        <p:txBody>
          <a:bodyPr/>
          <a:lstStyle>
            <a:lvl1pPr marL="0" indent="0">
              <a:buNone/>
              <a:defRPr sz="1500" b="0" baseline="0">
                <a:solidFill>
                  <a:srgbClr val="53565A"/>
                </a:solidFill>
              </a:defRPr>
            </a:lvl1pPr>
          </a:lstStyle>
          <a:p>
            <a:pPr lvl="0"/>
            <a:r>
              <a:rPr lang="en-GB" dirty="0"/>
              <a:t>Click to add summary</a:t>
            </a:r>
          </a:p>
        </p:txBody>
      </p:sp>
    </p:spTree>
    <p:extLst>
      <p:ext uri="{BB962C8B-B14F-4D97-AF65-F5344CB8AC3E}">
        <p14:creationId xmlns:p14="http://schemas.microsoft.com/office/powerpoint/2010/main" val="192665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528906"/>
            <a:ext cx="8238319" cy="313984"/>
          </a:xfrm>
        </p:spPr>
        <p:txBody>
          <a:bodyPr/>
          <a:lstStyle/>
          <a:p>
            <a:r>
              <a:rPr lang="en-US" dirty="0"/>
              <a:t>Click to edit Master title style</a:t>
            </a:r>
          </a:p>
        </p:txBody>
      </p:sp>
    </p:spTree>
    <p:extLst>
      <p:ext uri="{BB962C8B-B14F-4D97-AF65-F5344CB8AC3E}">
        <p14:creationId xmlns:p14="http://schemas.microsoft.com/office/powerpoint/2010/main" val="58640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25082"/>
            <a:ext cx="8238318" cy="3673610"/>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5741"/>
            <a:ext cx="587784" cy="26589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a:solidFill>
                  <a:prstClr val="white"/>
                </a:solidFill>
              </a:rPr>
              <a:t>   |   </a:t>
            </a:r>
            <a:fld id="{DA15E891-66B8-4B28-AB8F-05A4B1DE573C}" type="slidenum">
              <a:rPr lang="en-US" sz="525" smtClean="0">
                <a:solidFill>
                  <a:prstClr val="white"/>
                </a:solidFill>
              </a:rPr>
              <a:pPr/>
              <a:t>‹#›</a:t>
            </a:fld>
            <a:endParaRPr lang="en-US" sz="525" dirty="0">
              <a:solidFill>
                <a:prstClr val="white"/>
              </a:solidFill>
            </a:endParaRPr>
          </a:p>
        </p:txBody>
      </p:sp>
      <p:sp>
        <p:nvSpPr>
          <p:cNvPr id="6" name="Title Placeholder 1"/>
          <p:cNvSpPr>
            <a:spLocks noGrp="1"/>
          </p:cNvSpPr>
          <p:nvPr>
            <p:ph type="title"/>
          </p:nvPr>
        </p:nvSpPr>
        <p:spPr>
          <a:xfrm>
            <a:off x="457201" y="528905"/>
            <a:ext cx="8238319" cy="313984"/>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8349" y="4823039"/>
            <a:ext cx="1455108" cy="123215"/>
          </a:xfrm>
          <a:prstGeom prst="rect">
            <a:avLst/>
          </a:prstGeom>
        </p:spPr>
      </p:pic>
    </p:spTree>
    <p:extLst>
      <p:ext uri="{BB962C8B-B14F-4D97-AF65-F5344CB8AC3E}">
        <p14:creationId xmlns:p14="http://schemas.microsoft.com/office/powerpoint/2010/main" val="4702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0" y="1125082"/>
            <a:ext cx="9144000" cy="4018418"/>
          </a:xfrm>
          <a:prstGeom prst="rect">
            <a:avLst/>
          </a:prstGeom>
        </p:spPr>
        <p:txBody>
          <a:bodyPr>
            <a:normAutofit/>
          </a:bodyPr>
          <a:lstStyle>
            <a:lvl1pPr marL="0" indent="0" algn="ctr">
              <a:buNone/>
              <a:defRPr sz="18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icture here</a:t>
            </a:r>
          </a:p>
        </p:txBody>
      </p:sp>
      <p:sp>
        <p:nvSpPr>
          <p:cNvPr id="7" name="Slide Number Placeholder 7"/>
          <p:cNvSpPr>
            <a:spLocks noGrp="1"/>
          </p:cNvSpPr>
          <p:nvPr>
            <p:ph type="sldNum" sz="quarter" idx="10"/>
          </p:nvPr>
        </p:nvSpPr>
        <p:spPr>
          <a:xfrm>
            <a:off x="8474338" y="-5741"/>
            <a:ext cx="587784" cy="265892"/>
          </a:xfrm>
          <a:prstGeom prst="rect">
            <a:avLst/>
          </a:prstGeom>
        </p:spPr>
        <p:txBody>
          <a:bodyPr vert="horz" lIns="91440" tIns="45720" rIns="91440" bIns="45720" rtlCol="0" anchor="ctr"/>
          <a:lstStyle>
            <a:lvl1pPr algn="r">
              <a:defRPr sz="525">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226821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r">
              <a:lnSpc>
                <a:spcPct val="100000"/>
              </a:lnSpc>
              <a:buNone/>
              <a:defRPr sz="1600" baseline="0"/>
            </a:lvl1pPr>
          </a:lstStyle>
          <a:p>
            <a:r>
              <a:rPr lang="de-DE"/>
              <a:t>Click on icon to select picture</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7" name="TextBox 1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20"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475841" y="503628"/>
            <a:ext cx="788400"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en-US"/>
              <a:t>Edit Master text styles v</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899294975"/>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End Slide">
    <p:spTree>
      <p:nvGrpSpPr>
        <p:cNvPr id="1" name=""/>
        <p:cNvGrpSpPr/>
        <p:nvPr/>
      </p:nvGrpSpPr>
      <p:grpSpPr>
        <a:xfrm>
          <a:off x="0" y="0"/>
          <a:ext cx="0" cy="0"/>
          <a:chOff x="0" y="0"/>
          <a:chExt cx="0" cy="0"/>
        </a:xfrm>
      </p:grpSpPr>
      <p:sp>
        <p:nvSpPr>
          <p:cNvPr id="12" name="Rectangle 11"/>
          <p:cNvSpPr/>
          <p:nvPr/>
        </p:nvSpPr>
        <p:spPr>
          <a:xfrm>
            <a:off x="0" y="-6234"/>
            <a:ext cx="9144000" cy="2992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8" y="787006"/>
            <a:ext cx="2303462" cy="382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9" y="4741070"/>
            <a:ext cx="408908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050" dirty="0">
                <a:solidFill>
                  <a:srgbClr val="FF8200"/>
                </a:solidFill>
                <a:latin typeface="NexusSansOT" pitchFamily="-104" charset="0"/>
              </a:rPr>
              <a:t>www.elsevier.com/research-intelligence</a:t>
            </a:r>
            <a:endParaRPr lang="en-US" sz="1050" dirty="0">
              <a:solidFill>
                <a:srgbClr val="53565A"/>
              </a:solidFill>
              <a:latin typeface="NexusSansOT" pitchFamily="-104" charset="0"/>
            </a:endParaRPr>
          </a:p>
        </p:txBody>
      </p:sp>
      <p:sp>
        <p:nvSpPr>
          <p:cNvPr id="21" name="Rectangle 20"/>
          <p:cNvSpPr/>
          <p:nvPr/>
        </p:nvSpPr>
        <p:spPr>
          <a:xfrm>
            <a:off x="6794500" y="787006"/>
            <a:ext cx="2368154" cy="382071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endParaRPr>
          </a:p>
        </p:txBody>
      </p:sp>
      <p:sp>
        <p:nvSpPr>
          <p:cNvPr id="10" name="Rectangle 9"/>
          <p:cNvSpPr/>
          <p:nvPr/>
        </p:nvSpPr>
        <p:spPr>
          <a:xfrm>
            <a:off x="0" y="1993900"/>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prstClr val="white"/>
              </a:solidFill>
            </a:endParaRPr>
          </a:p>
        </p:txBody>
      </p:sp>
      <p:sp>
        <p:nvSpPr>
          <p:cNvPr id="13" name="Text Placeholder 21"/>
          <p:cNvSpPr>
            <a:spLocks noGrp="1"/>
          </p:cNvSpPr>
          <p:nvPr>
            <p:ph type="body" sz="quarter" idx="13" hasCustomPrompt="1"/>
          </p:nvPr>
        </p:nvSpPr>
        <p:spPr>
          <a:xfrm>
            <a:off x="300039" y="2076104"/>
            <a:ext cx="6511923" cy="1128453"/>
          </a:xfrm>
          <a:prstGeom prst="rect">
            <a:avLst/>
          </a:prstGeom>
        </p:spPr>
        <p:txBody>
          <a:bodyPr anchor="ctr" anchorCtr="0">
            <a:noAutofit/>
          </a:bodyPr>
          <a:lstStyle>
            <a:lvl1pPr marL="0" indent="0">
              <a:buNone/>
              <a:defRPr sz="24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101" y="1639692"/>
            <a:ext cx="3453293" cy="198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39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6599DB42-C23A-4BC8-9CBC-60F0A97AB2D6}"/>
              </a:ext>
            </a:extLst>
          </p:cNvPr>
          <p:cNvSpPr>
            <a:spLocks noGrp="1" noChangeArrowheads="1"/>
          </p:cNvSpPr>
          <p:nvPr>
            <p:ph type="sldNum" sz="quarter" idx="10"/>
          </p:nvPr>
        </p:nvSpPr>
        <p:spPr>
          <a:xfrm>
            <a:off x="0" y="0"/>
            <a:ext cx="0" cy="0"/>
          </a:xfrm>
        </p:spPr>
        <p:txBody>
          <a:bodyPr/>
          <a:lstStyle>
            <a:lvl1pPr defTabSz="320954" eaLnBrk="1" fontAlgn="auto" hangingPunct="1">
              <a:spcBef>
                <a:spcPts val="0"/>
              </a:spcBef>
              <a:spcAft>
                <a:spcPts val="0"/>
              </a:spcAft>
              <a:defRPr sz="1264">
                <a:latin typeface="+mn-lt"/>
              </a:defRPr>
            </a:lvl1pPr>
          </a:lstStyle>
          <a:p>
            <a:pPr>
              <a:defRPr/>
            </a:pPr>
            <a:fld id="{9931DC3E-6173-46DA-A934-82C031685B77}" type="slidenum">
              <a:rPr lang="en-US" altLang="zh-CN"/>
              <a:pPr>
                <a:defRPr/>
              </a:pPr>
              <a:t>‹#›</a:t>
            </a:fld>
            <a:endParaRPr lang="en-US" altLang="zh-CN"/>
          </a:p>
        </p:txBody>
      </p:sp>
    </p:spTree>
    <p:extLst>
      <p:ext uri="{BB962C8B-B14F-4D97-AF65-F5344CB8AC3E}">
        <p14:creationId xmlns:p14="http://schemas.microsoft.com/office/powerpoint/2010/main" val="943695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1CD315C-51F6-49DB-B6EF-B8D67435AA84}"/>
              </a:ext>
            </a:extLst>
          </p:cNvPr>
          <p:cNvSpPr>
            <a:spLocks noGrp="1" noChangeArrowheads="1"/>
          </p:cNvSpPr>
          <p:nvPr>
            <p:ph type="sldNum" sz="quarter" idx="10"/>
          </p:nvPr>
        </p:nvSpPr>
        <p:spPr>
          <a:xfrm>
            <a:off x="0" y="0"/>
            <a:ext cx="0" cy="0"/>
          </a:xfrm>
        </p:spPr>
        <p:txBody>
          <a:bodyPr/>
          <a:lstStyle>
            <a:lvl1pPr defTabSz="320954" eaLnBrk="1" fontAlgn="auto" hangingPunct="1">
              <a:spcBef>
                <a:spcPts val="0"/>
              </a:spcBef>
              <a:spcAft>
                <a:spcPts val="0"/>
              </a:spcAft>
              <a:defRPr sz="1264">
                <a:latin typeface="+mn-lt"/>
              </a:defRPr>
            </a:lvl1pPr>
          </a:lstStyle>
          <a:p>
            <a:pPr>
              <a:defRPr/>
            </a:pPr>
            <a:fld id="{6E36F69C-EC90-4415-86D0-E5CE23B783D2}" type="slidenum">
              <a:rPr lang="en-US" altLang="zh-CN"/>
              <a:pPr>
                <a:defRPr/>
              </a:pPr>
              <a:t>‹#›</a:t>
            </a:fld>
            <a:endParaRPr lang="en-US" altLang="zh-CN"/>
          </a:p>
        </p:txBody>
      </p:sp>
    </p:spTree>
    <p:extLst>
      <p:ext uri="{BB962C8B-B14F-4D97-AF65-F5344CB8AC3E}">
        <p14:creationId xmlns:p14="http://schemas.microsoft.com/office/powerpoint/2010/main" val="2232773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ntent: Three Photos">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72AF1C9D-8A7F-46C5-B8DD-BDBA6DEC3D52}"/>
              </a:ext>
            </a:extLst>
          </p:cNvPr>
          <p:cNvGraphicFramePr>
            <a:graphicFrameLocks noChangeAspect="1"/>
          </p:cNvGraphicFramePr>
          <p:nvPr userDrawn="1">
            <p:custDataLst>
              <p:tags r:id="rId2"/>
            </p:custDataLst>
          </p:nvPr>
        </p:nvGraphicFramePr>
        <p:xfrm>
          <a:off x="1906" y="1430"/>
          <a:ext cx="1904" cy="1428"/>
        </p:xfrm>
        <a:graphic>
          <a:graphicData uri="http://schemas.openxmlformats.org/presentationml/2006/ole">
            <mc:AlternateContent xmlns:mc="http://schemas.openxmlformats.org/markup-compatibility/2006">
              <mc:Choice xmlns:v="urn:schemas-microsoft-com:vml" Requires="v">
                <p:oleObj spid="_x0000_s1028" name="think-cell Slide" r:id="rId4" imgW="360" imgH="360" progId="TCLayout.ActiveDocument.1">
                  <p:embed/>
                </p:oleObj>
              </mc:Choice>
              <mc:Fallback>
                <p:oleObj name="think-cell Slide" r:id="rId4" imgW="360" imgH="360" progId="TCLayout.ActiveDocument.1">
                  <p:embed/>
                  <p:pic>
                    <p:nvPicPr>
                      <p:cNvPr id="3" name="Object 11" hidden="1">
                        <a:extLst>
                          <a:ext uri="{FF2B5EF4-FFF2-40B4-BE49-F238E27FC236}">
                            <a16:creationId xmlns:a16="http://schemas.microsoft.com/office/drawing/2014/main" id="{72AF1C9D-8A7F-46C5-B8DD-BDBA6DEC3D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430"/>
                        <a:ext cx="1904"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Text Placeholder 13"/>
          <p:cNvSpPr>
            <a:spLocks noGrp="1"/>
          </p:cNvSpPr>
          <p:nvPr>
            <p:ph type="body" sz="quarter" idx="10"/>
          </p:nvPr>
        </p:nvSpPr>
        <p:spPr>
          <a:xfrm>
            <a:off x="242889" y="543229"/>
            <a:ext cx="8656636" cy="214313"/>
          </a:xfrm>
        </p:spPr>
        <p:txBody>
          <a:bodyPr lIns="0" tIns="0" rIns="0" bIns="0"/>
          <a:lstStyle>
            <a:lvl1pPr marL="0" indent="0">
              <a:lnSpc>
                <a:spcPct val="100000"/>
              </a:lnSpc>
              <a:buNone/>
              <a:defRPr sz="1350" baseline="0">
                <a:solidFill>
                  <a:srgbClr val="007398"/>
                </a:solidFill>
                <a:latin typeface="Arial" panose="020B0604020202020204" pitchFamily="34" charset="0"/>
                <a:cs typeface="Arial" panose="020B0604020202020204" pitchFamily="34" charset="0"/>
              </a:defRPr>
            </a:lvl1pPr>
          </a:lstStyle>
          <a:p>
            <a:pPr lvl="0"/>
            <a:r>
              <a:rPr lang="en-US"/>
              <a:t>Edit Master text styles</a:t>
            </a:r>
          </a:p>
        </p:txBody>
      </p:sp>
    </p:spTree>
    <p:extLst>
      <p:ext uri="{BB962C8B-B14F-4D97-AF65-F5344CB8AC3E}">
        <p14:creationId xmlns:p14="http://schemas.microsoft.com/office/powerpoint/2010/main" val="4259328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Main 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4F0B13-44A6-44D2-9BCE-BFD1FEF94EAB}"/>
              </a:ext>
            </a:extLst>
          </p:cNvPr>
          <p:cNvSpPr/>
          <p:nvPr/>
        </p:nvSpPr>
        <p:spPr>
          <a:xfrm>
            <a:off x="6917056" y="911543"/>
            <a:ext cx="2228850" cy="362759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6" name="Picture 14">
            <a:extLst>
              <a:ext uri="{FF2B5EF4-FFF2-40B4-BE49-F238E27FC236}">
                <a16:creationId xmlns:a16="http://schemas.microsoft.com/office/drawing/2014/main" id="{583C83DA-2B46-4BD8-9D80-71C280003F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1806" y="1000125"/>
            <a:ext cx="2303144" cy="382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a:extLst>
              <a:ext uri="{FF2B5EF4-FFF2-40B4-BE49-F238E27FC236}">
                <a16:creationId xmlns:a16="http://schemas.microsoft.com/office/drawing/2014/main" id="{7DE030F5-1514-4F7B-8D1D-C8F596806A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2296" y="911543"/>
            <a:ext cx="2209800" cy="362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09D8C5E3-9286-4658-B1BD-F12103AC409E}"/>
              </a:ext>
            </a:extLst>
          </p:cNvPr>
          <p:cNvSpPr/>
          <p:nvPr/>
        </p:nvSpPr>
        <p:spPr>
          <a:xfrm>
            <a:off x="6842760" y="911543"/>
            <a:ext cx="2303146" cy="3820478"/>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1" name="Picture 3" descr="Elsevier_W_Research_Information_1b_aw.eps">
            <a:extLst>
              <a:ext uri="{FF2B5EF4-FFF2-40B4-BE49-F238E27FC236}">
                <a16:creationId xmlns:a16="http://schemas.microsoft.com/office/drawing/2014/main" id="{BCC02CC6-5817-4667-8CEE-B4A8DE012AF9}"/>
              </a:ext>
            </a:extLst>
          </p:cNvPr>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429501" y="1994535"/>
            <a:ext cx="1718310" cy="128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43F78B6C-5FE9-4F7D-A31E-B8DDACE1BE64}"/>
              </a:ext>
            </a:extLst>
          </p:cNvPr>
          <p:cNvSpPr/>
          <p:nvPr/>
        </p:nvSpPr>
        <p:spPr>
          <a:xfrm>
            <a:off x="-19050" y="1995964"/>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3" name="Picture 19">
            <a:extLst>
              <a:ext uri="{FF2B5EF4-FFF2-40B4-BE49-F238E27FC236}">
                <a16:creationId xmlns:a16="http://schemas.microsoft.com/office/drawing/2014/main" id="{22CF1993-E998-468E-A7FA-B5986301E3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3310" y="1994535"/>
            <a:ext cx="171450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8212C9AF-402C-40A7-9D3A-1A2B669D504E}"/>
              </a:ext>
            </a:extLst>
          </p:cNvPr>
          <p:cNvSpPr/>
          <p:nvPr/>
        </p:nvSpPr>
        <p:spPr>
          <a:xfrm>
            <a:off x="0" y="-5715"/>
            <a:ext cx="9144000" cy="298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6" name="Picture 2" descr="C:\Users\jamesc\Documents\Product Information\ERI General\Artfile Archive\Product Logos\Elsevier_Logos_2014\Presentation - Elsevier\Non_Solus_Logo\ELS_NS_Logo_2C_RGB.png">
            <a:extLst>
              <a:ext uri="{FF2B5EF4-FFF2-40B4-BE49-F238E27FC236}">
                <a16:creationId xmlns:a16="http://schemas.microsoft.com/office/drawing/2014/main" id="{D4DB56C0-4E89-4CD0-BF87-58927C0F24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0546" y="167164"/>
            <a:ext cx="649604"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1BF6B37F-B583-4ED3-B02C-3A087672AA54}"/>
              </a:ext>
            </a:extLst>
          </p:cNvPr>
          <p:cNvSpPr/>
          <p:nvPr userDrawn="1"/>
        </p:nvSpPr>
        <p:spPr>
          <a:xfrm>
            <a:off x="6917056" y="911543"/>
            <a:ext cx="2228850" cy="362759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8" name="Picture 23">
            <a:extLst>
              <a:ext uri="{FF2B5EF4-FFF2-40B4-BE49-F238E27FC236}">
                <a16:creationId xmlns:a16="http://schemas.microsoft.com/office/drawing/2014/main" id="{81BE39DE-8D2C-4ECE-871A-D57EB59EC73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21806" y="1000125"/>
            <a:ext cx="2303144" cy="382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4">
            <a:extLst>
              <a:ext uri="{FF2B5EF4-FFF2-40B4-BE49-F238E27FC236}">
                <a16:creationId xmlns:a16="http://schemas.microsoft.com/office/drawing/2014/main" id="{005215F3-AE35-447F-B92E-CACCF87D06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32296" y="911543"/>
            <a:ext cx="2209800" cy="362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B4F84D8A-2592-4618-A377-D579CCC53D3F}"/>
              </a:ext>
            </a:extLst>
          </p:cNvPr>
          <p:cNvSpPr/>
          <p:nvPr userDrawn="1"/>
        </p:nvSpPr>
        <p:spPr>
          <a:xfrm>
            <a:off x="6842760" y="814388"/>
            <a:ext cx="2303146" cy="3820478"/>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21" name="Picture 3" descr="Elsevier_W_Research_Information_1b_aw.eps">
            <a:extLst>
              <a:ext uri="{FF2B5EF4-FFF2-40B4-BE49-F238E27FC236}">
                <a16:creationId xmlns:a16="http://schemas.microsoft.com/office/drawing/2014/main" id="{724987ED-9D15-4C61-936A-3E818691A8A0}"/>
              </a:ext>
            </a:extLst>
          </p:cNvPr>
          <p:cNvPicPr>
            <a:picLocks/>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29501" y="1994535"/>
            <a:ext cx="1718310" cy="128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2CEECA44-171A-4C24-BEA9-2450F150A78D}"/>
              </a:ext>
            </a:extLst>
          </p:cNvPr>
          <p:cNvSpPr/>
          <p:nvPr userDrawn="1"/>
        </p:nvSpPr>
        <p:spPr>
          <a:xfrm>
            <a:off x="-19050" y="1995964"/>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23" name="Picture 28">
            <a:extLst>
              <a:ext uri="{FF2B5EF4-FFF2-40B4-BE49-F238E27FC236}">
                <a16:creationId xmlns:a16="http://schemas.microsoft.com/office/drawing/2014/main" id="{8C68EBCF-DCB1-4A00-99BF-19DCED1880E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33310" y="1994535"/>
            <a:ext cx="171450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F483A5FB-D5D7-4CC8-94AE-D67D5AC17F45}"/>
              </a:ext>
            </a:extLst>
          </p:cNvPr>
          <p:cNvSpPr/>
          <p:nvPr userDrawn="1"/>
        </p:nvSpPr>
        <p:spPr>
          <a:xfrm>
            <a:off x="0" y="-5715"/>
            <a:ext cx="9144000" cy="298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25" name="Picture 2" descr="C:\Users\jamesc\Documents\Product Information\ERI General\Artfile Archive\Product Logos\Elsevier_Logos_2014\Presentation - Elsevier\Non_Solus_Logo\ELS_NS_Logo_2C_RGB.png">
            <a:extLst>
              <a:ext uri="{FF2B5EF4-FFF2-40B4-BE49-F238E27FC236}">
                <a16:creationId xmlns:a16="http://schemas.microsoft.com/office/drawing/2014/main" id="{C31B6F8F-F68D-4105-8D01-46E3F16F91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70546" y="167164"/>
            <a:ext cx="649604"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p:nvPr>
        </p:nvSpPr>
        <p:spPr>
          <a:xfrm>
            <a:off x="257177" y="3532370"/>
            <a:ext cx="5483225" cy="395288"/>
          </a:xfrm>
          <a:prstGeom prst="rect">
            <a:avLst/>
          </a:prstGeom>
        </p:spPr>
        <p:txBody>
          <a:bodyPr>
            <a:normAutofit/>
          </a:bodyPr>
          <a:lstStyle>
            <a:lvl1pPr marL="0" indent="0">
              <a:buNone/>
              <a:defRPr sz="1500"/>
            </a:lvl1pPr>
          </a:lstStyle>
          <a:p>
            <a:pPr lvl="0"/>
            <a:r>
              <a:rPr lang="en-US"/>
              <a:t>Edit Master text styles</a:t>
            </a:r>
          </a:p>
        </p:txBody>
      </p:sp>
      <p:sp>
        <p:nvSpPr>
          <p:cNvPr id="15" name="Title 1"/>
          <p:cNvSpPr>
            <a:spLocks noGrp="1"/>
          </p:cNvSpPr>
          <p:nvPr>
            <p:ph type="ctrTitle"/>
          </p:nvPr>
        </p:nvSpPr>
        <p:spPr>
          <a:xfrm>
            <a:off x="257176" y="2085982"/>
            <a:ext cx="7032625" cy="1102519"/>
          </a:xfrm>
          <a:prstGeom prst="rect">
            <a:avLst/>
          </a:prstGeom>
        </p:spPr>
        <p:txBody>
          <a:bodyPr/>
          <a:lstStyle>
            <a:lvl1pPr>
              <a:defRPr sz="27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9"/>
          <p:cNvSpPr>
            <a:spLocks noGrp="1"/>
          </p:cNvSpPr>
          <p:nvPr>
            <p:ph type="body" sz="quarter" idx="18"/>
          </p:nvPr>
        </p:nvSpPr>
        <p:spPr>
          <a:xfrm>
            <a:off x="257178" y="3977510"/>
            <a:ext cx="3508375" cy="330561"/>
          </a:xfrm>
          <a:prstGeom prst="rect">
            <a:avLst/>
          </a:prstGeom>
        </p:spPr>
        <p:txBody>
          <a:bodyPr/>
          <a:lstStyle>
            <a:lvl1pPr marL="0" indent="0">
              <a:buNone/>
              <a:defRPr sz="1050" b="0"/>
            </a:lvl1pPr>
          </a:lstStyle>
          <a:p>
            <a:pPr lvl="0"/>
            <a:r>
              <a:rPr lang="en-US"/>
              <a:t>Edit Master text styles</a:t>
            </a:r>
          </a:p>
        </p:txBody>
      </p:sp>
    </p:spTree>
    <p:extLst>
      <p:ext uri="{BB962C8B-B14F-4D97-AF65-F5344CB8AC3E}">
        <p14:creationId xmlns:p14="http://schemas.microsoft.com/office/powerpoint/2010/main" val="301162075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4214" y="1198961"/>
            <a:ext cx="3886200" cy="3030141"/>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2814" y="1198961"/>
            <a:ext cx="3886200" cy="3030141"/>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F00B3F6-48FE-441A-A45F-66E646154A2C}"/>
              </a:ext>
            </a:extLst>
          </p:cNvPr>
          <p:cNvSpPr>
            <a:spLocks noGrp="1" noChangeArrowheads="1"/>
          </p:cNvSpPr>
          <p:nvPr>
            <p:ph type="sldNum" sz="quarter" idx="10"/>
          </p:nvPr>
        </p:nvSpPr>
        <p:spPr>
          <a:xfrm>
            <a:off x="0" y="0"/>
            <a:ext cx="0" cy="0"/>
          </a:xfrm>
        </p:spPr>
        <p:txBody>
          <a:bodyPr/>
          <a:lstStyle>
            <a:lvl1pPr defTabSz="320954" eaLnBrk="1" fontAlgn="auto" hangingPunct="1">
              <a:spcBef>
                <a:spcPts val="0"/>
              </a:spcBef>
              <a:spcAft>
                <a:spcPts val="0"/>
              </a:spcAft>
              <a:defRPr sz="1264">
                <a:latin typeface="+mn-lt"/>
              </a:defRPr>
            </a:lvl1pPr>
          </a:lstStyle>
          <a:p>
            <a:pPr>
              <a:defRPr/>
            </a:pPr>
            <a:fld id="{3156BEE1-A5AC-49E9-9EAB-F532F7017702}" type="slidenum">
              <a:rPr lang="en-US" altLang="zh-CN"/>
              <a:pPr>
                <a:defRPr/>
              </a:pPr>
              <a:t>‹#›</a:t>
            </a:fld>
            <a:endParaRPr lang="en-US" altLang="zh-CN"/>
          </a:p>
        </p:txBody>
      </p:sp>
    </p:spTree>
    <p:extLst>
      <p:ext uri="{BB962C8B-B14F-4D97-AF65-F5344CB8AC3E}">
        <p14:creationId xmlns:p14="http://schemas.microsoft.com/office/powerpoint/2010/main" val="3190644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Title and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5393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2"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9"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241771627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1" y="-431800"/>
            <a:ext cx="9138993" cy="1229461"/>
          </a:xfrm>
          <a:prstGeom prst="rect">
            <a:avLst/>
          </a:prstGeom>
        </p:spPr>
      </p:pic>
      <p:sp>
        <p:nvSpPr>
          <p:cNvPr id="7" name="Text Placeholder 6"/>
          <p:cNvSpPr>
            <a:spLocks noGrp="1"/>
          </p:cNvSpPr>
          <p:nvPr>
            <p:ph type="body" sz="quarter" idx="15" hasCustomPrompt="1"/>
          </p:nvPr>
        </p:nvSpPr>
        <p:spPr>
          <a:xfrm>
            <a:off x="1084593" y="1215416"/>
            <a:ext cx="6974815" cy="1413483"/>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endParaRPr lang="de-DE" dirty="0"/>
          </a:p>
        </p:txBody>
      </p:sp>
      <p:sp>
        <p:nvSpPr>
          <p:cNvPr id="9" name="Title 1"/>
          <p:cNvSpPr>
            <a:spLocks noGrp="1"/>
          </p:cNvSpPr>
          <p:nvPr>
            <p:ph type="title" hasCustomPrompt="1"/>
          </p:nvPr>
        </p:nvSpPr>
        <p:spPr>
          <a:xfrm>
            <a:off x="1084593" y="2641599"/>
            <a:ext cx="6974815" cy="660401"/>
          </a:xfrm>
        </p:spPr>
        <p:txBody>
          <a:bodyPr anchor="t">
            <a:noAutofit/>
          </a:bodyPr>
          <a:lstStyle>
            <a:lvl1pPr algn="ctr">
              <a:lnSpc>
                <a:spcPct val="100000"/>
              </a:lnSpc>
              <a:defRPr sz="2000">
                <a:solidFill>
                  <a:schemeClr val="tx2"/>
                </a:solidFill>
              </a:defRPr>
            </a:lvl1pPr>
          </a:lstStyle>
          <a:p>
            <a:r>
              <a:rPr lang="en-US" dirty="0"/>
              <a:t>Subtitle</a:t>
            </a:r>
            <a:endParaRPr lang="de-DE" dirty="0"/>
          </a:p>
        </p:txBody>
      </p:sp>
      <p:sp>
        <p:nvSpPr>
          <p:cNvPr id="6" name="Date Placeholder 5">
            <a:extLst>
              <a:ext uri="{FF2B5EF4-FFF2-40B4-BE49-F238E27FC236}">
                <a16:creationId xmlns:a16="http://schemas.microsoft.com/office/drawing/2014/main" id="{D6C0D160-5CCF-4C6C-9BAA-0B0555E6C4AD}"/>
              </a:ext>
            </a:extLst>
          </p:cNvPr>
          <p:cNvSpPr>
            <a:spLocks noGrp="1"/>
          </p:cNvSpPr>
          <p:nvPr>
            <p:ph type="dt" sz="half" idx="16"/>
          </p:nvPr>
        </p:nvSpPr>
        <p:spPr/>
        <p:txBody>
          <a:bodyPr/>
          <a:lstStyle/>
          <a:p>
            <a:endParaRPr lang="de-DE" dirty="0"/>
          </a:p>
        </p:txBody>
      </p:sp>
      <p:sp>
        <p:nvSpPr>
          <p:cNvPr id="8" name="Footer Placeholder 7">
            <a:extLst>
              <a:ext uri="{FF2B5EF4-FFF2-40B4-BE49-F238E27FC236}">
                <a16:creationId xmlns:a16="http://schemas.microsoft.com/office/drawing/2014/main" id="{3CB0E911-F2B6-478B-8A97-EB18BF897FAD}"/>
              </a:ext>
            </a:extLst>
          </p:cNvPr>
          <p:cNvSpPr>
            <a:spLocks noGrp="1"/>
          </p:cNvSpPr>
          <p:nvPr>
            <p:ph type="ftr" sz="quarter" idx="17"/>
          </p:nvPr>
        </p:nvSpPr>
        <p:spPr/>
        <p:txBody>
          <a:bodyPr/>
          <a:lstStyle/>
          <a:p>
            <a:endParaRPr lang="de-DE"/>
          </a:p>
        </p:txBody>
      </p:sp>
      <p:sp>
        <p:nvSpPr>
          <p:cNvPr id="10" name="Slide Number Placeholder 9">
            <a:extLst>
              <a:ext uri="{FF2B5EF4-FFF2-40B4-BE49-F238E27FC236}">
                <a16:creationId xmlns:a16="http://schemas.microsoft.com/office/drawing/2014/main" id="{147DC600-2DDF-4F7B-98E7-0440C166B8D4}"/>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Agenda</a:t>
            </a:r>
            <a:endParaRPr lang="de-DE" dirty="0"/>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endParaRPr lang="de-DE" dirty="0"/>
          </a:p>
        </p:txBody>
      </p:sp>
      <p:sp>
        <p:nvSpPr>
          <p:cNvPr id="6" name="Footer Placeholder 5"/>
          <p:cNvSpPr>
            <a:spLocks noGrp="1"/>
          </p:cNvSpPr>
          <p:nvPr>
            <p:ph type="ftr" sz="quarter" idx="15"/>
          </p:nvPr>
        </p:nvSpPr>
        <p:spPr/>
        <p:txBody>
          <a:bodyPr/>
          <a:lstStyle/>
          <a:p>
            <a:endParaRPr lang="de-DE" dirty="0"/>
          </a:p>
        </p:txBody>
      </p:sp>
      <p:sp>
        <p:nvSpPr>
          <p:cNvPr id="18" name="Text Placeholder 1"/>
          <p:cNvSpPr>
            <a:spLocks noGrp="1"/>
          </p:cNvSpPr>
          <p:nvPr>
            <p:ph type="body" sz="quarter" idx="13"/>
          </p:nvPr>
        </p:nvSpPr>
        <p:spPr>
          <a:xfrm>
            <a:off x="576262" y="1064853"/>
            <a:ext cx="7991475" cy="3264797"/>
          </a:xfrm>
          <a:prstGeom prst="rect">
            <a:avLst/>
          </a:prstGeom>
        </p:spPr>
        <p:txBody>
          <a:bodyPr vert="horz" lIns="91440" tIns="0" rIns="91440" bIns="45720" rtlCol="0">
            <a:normAutofit/>
          </a:bodyPr>
          <a:lstStyle>
            <a:lvl1pPr>
              <a:defRPr lang="en-GB" dirty="0"/>
            </a:lvl1pPr>
          </a:lstStyle>
          <a:p>
            <a:pPr marL="285750" lvl="0" indent="-285750">
              <a:lnSpc>
                <a:spcPct val="100000"/>
              </a:lnSpc>
            </a:pPr>
            <a:endParaRPr lang="en-GB" dirty="0"/>
          </a:p>
        </p:txBody>
      </p:sp>
      <p:sp>
        <p:nvSpPr>
          <p:cNvPr id="3" name="Slide Number Placeholder 2">
            <a:extLst>
              <a:ext uri="{FF2B5EF4-FFF2-40B4-BE49-F238E27FC236}">
                <a16:creationId xmlns:a16="http://schemas.microsoft.com/office/drawing/2014/main" id="{4F65E84C-FE9B-4764-A960-BB43EADB127A}"/>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262608357"/>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79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 name="Slide Number Placeholder 1">
            <a:extLst>
              <a:ext uri="{FF2B5EF4-FFF2-40B4-BE49-F238E27FC236}">
                <a16:creationId xmlns:a16="http://schemas.microsoft.com/office/drawing/2014/main" id="{78B0AF57-6489-4E23-A94F-ACEA854E5506}"/>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13" hasCustomPrompt="1"/>
          </p:nvPr>
        </p:nvSpPr>
        <p:spPr>
          <a:xfrm>
            <a:off x="576263" y="1064854"/>
            <a:ext cx="7991475" cy="3264797"/>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Slide Number Placeholder 1">
            <a:extLst>
              <a:ext uri="{FF2B5EF4-FFF2-40B4-BE49-F238E27FC236}">
                <a16:creationId xmlns:a16="http://schemas.microsoft.com/office/drawing/2014/main" id="{8917008D-C24F-4940-A46C-F5E444F93004}"/>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44000" y="4722258"/>
            <a:ext cx="3086100" cy="16281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dirty="0"/>
          </a:p>
        </p:txBody>
      </p:sp>
      <p:sp>
        <p:nvSpPr>
          <p:cNvPr id="5" name="Footer Placeholder 4"/>
          <p:cNvSpPr>
            <a:spLocks noGrp="1"/>
          </p:cNvSpPr>
          <p:nvPr>
            <p:ph type="ftr" sz="quarter" idx="3"/>
          </p:nvPr>
        </p:nvSpPr>
        <p:spPr>
          <a:xfrm>
            <a:off x="1044000" y="4531201"/>
            <a:ext cx="3086100" cy="16224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a:p>
        </p:txBody>
      </p:sp>
      <p:cxnSp>
        <p:nvCxnSpPr>
          <p:cNvPr id="7" name="Straight Connector 6"/>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9" name="Title Placeholder 1"/>
          <p:cNvSpPr>
            <a:spLocks noGrp="1"/>
          </p:cNvSpPr>
          <p:nvPr>
            <p:ph type="title"/>
          </p:nvPr>
        </p:nvSpPr>
        <p:spPr>
          <a:xfrm>
            <a:off x="576000" y="440861"/>
            <a:ext cx="7991738" cy="462759"/>
          </a:xfrm>
          <a:prstGeom prst="rect">
            <a:avLst/>
          </a:prstGeom>
        </p:spPr>
        <p:txBody>
          <a:bodyPr vert="horz" lIns="91440" tIns="0" rIns="91440" bIns="0" rtlCol="0" anchor="ctr" anchorCtr="0">
            <a:noAutofit/>
          </a:bodyPr>
          <a:lstStyle/>
          <a:p>
            <a:r>
              <a:rPr lang="en-US" dirty="0"/>
              <a:t>Click to edit Master title style</a:t>
            </a:r>
            <a:endParaRPr lang="de-DE" dirty="0"/>
          </a:p>
        </p:txBody>
      </p:sp>
      <p:sp>
        <p:nvSpPr>
          <p:cNvPr id="11" name="Text Placeholder 2"/>
          <p:cNvSpPr>
            <a:spLocks noGrp="1"/>
          </p:cNvSpPr>
          <p:nvPr>
            <p:ph type="body" idx="1"/>
          </p:nvPr>
        </p:nvSpPr>
        <p:spPr>
          <a:xfrm>
            <a:off x="576000" y="1076659"/>
            <a:ext cx="7991738" cy="3425729"/>
          </a:xfrm>
          <a:prstGeom prst="rect">
            <a:avLst/>
          </a:prstGeom>
        </p:spPr>
        <p:txBody>
          <a:bodyPr vert="horz" lIns="91440" tIns="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6510338" y="4722258"/>
            <a:ext cx="2057400" cy="162000"/>
          </a:xfrm>
          <a:prstGeom prst="rect">
            <a:avLst/>
          </a:prstGeom>
        </p:spPr>
        <p:txBody>
          <a:bodyPr vert="horz" lIns="0" tIns="0" rIns="0" bIns="0" rtlCol="0" anchor="t" anchorCtr="0"/>
          <a:lstStyle>
            <a:lvl1pPr algn="r">
              <a:defRPr sz="800">
                <a:solidFill>
                  <a:schemeClr val="tx1">
                    <a:tint val="75000"/>
                  </a:schemeClr>
                </a:solidFill>
              </a:defRPr>
            </a:lvl1p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660" r:id="rId3"/>
    <p:sldLayoutId id="2147483701" r:id="rId4"/>
    <p:sldLayoutId id="2147483661" r:id="rId5"/>
    <p:sldLayoutId id="2147483734" r:id="rId6"/>
    <p:sldLayoutId id="2147483650" r:id="rId7"/>
    <p:sldLayoutId id="2147483735" r:id="rId8"/>
    <p:sldLayoutId id="2147483708" r:id="rId9"/>
    <p:sldLayoutId id="2147483662" r:id="rId10"/>
    <p:sldLayoutId id="2147483703" r:id="rId11"/>
    <p:sldLayoutId id="2147483696" r:id="rId12"/>
    <p:sldLayoutId id="2147483663" r:id="rId13"/>
    <p:sldLayoutId id="2147483698" r:id="rId14"/>
    <p:sldLayoutId id="2147483699" r:id="rId15"/>
    <p:sldLayoutId id="2147483665" r:id="rId16"/>
    <p:sldLayoutId id="2147483664" r:id="rId17"/>
    <p:sldLayoutId id="2147483709" r:id="rId18"/>
    <p:sldLayoutId id="2147483666" r:id="rId19"/>
    <p:sldLayoutId id="2147483667" r:id="rId20"/>
    <p:sldLayoutId id="2147483668" r:id="rId21"/>
    <p:sldLayoutId id="2147483704" r:id="rId22"/>
    <p:sldLayoutId id="2147483705" r:id="rId23"/>
    <p:sldLayoutId id="2147483669" r:id="rId24"/>
    <p:sldLayoutId id="2147483670" r:id="rId25"/>
    <p:sldLayoutId id="2147483736" r:id="rId26"/>
    <p:sldLayoutId id="2147483739" r:id="rId27"/>
    <p:sldLayoutId id="2147483741" r:id="rId28"/>
    <p:sldLayoutId id="2147483742" r:id="rId29"/>
    <p:sldLayoutId id="2147483748" r:id="rId30"/>
    <p:sldLayoutId id="2147483750" r:id="rId31"/>
    <p:sldLayoutId id="2147483751" r:id="rId32"/>
    <p:sldLayoutId id="2147483752" r:id="rId33"/>
    <p:sldLayoutId id="2147483753" r:id="rId34"/>
    <p:sldLayoutId id="2147483754" r:id="rId35"/>
    <p:sldLayoutId id="2147483755" r:id="rId36"/>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29.xml"/><Relationship Id="rId5" Type="http://schemas.openxmlformats.org/officeDocument/2006/relationships/image" Target="../media/image42.png"/><Relationship Id="rId4" Type="http://schemas.openxmlformats.org/officeDocument/2006/relationships/image" Target="../media/image41.jpeg"/></Relationships>
</file>

<file path=ppt/slides/_rels/slide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3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44.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image" Target="../media/image54.png"/><Relationship Id="rId1" Type="http://schemas.openxmlformats.org/officeDocument/2006/relationships/slideLayout" Target="../slideLayouts/slideLayout32.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35.xml"/><Relationship Id="rId5" Type="http://schemas.openxmlformats.org/officeDocument/2006/relationships/image" Target="../media/image68.png"/><Relationship Id="rId4" Type="http://schemas.openxmlformats.org/officeDocument/2006/relationships/image" Target="../media/image6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32.xml"/><Relationship Id="rId4" Type="http://schemas.openxmlformats.org/officeDocument/2006/relationships/image" Target="../media/image71.png"/></Relationships>
</file>

<file path=ppt/slides/_rels/slide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32.xml"/><Relationship Id="rId5" Type="http://schemas.openxmlformats.org/officeDocument/2006/relationships/image" Target="../media/image74.png"/><Relationship Id="rId4" Type="http://schemas.openxmlformats.org/officeDocument/2006/relationships/image" Target="../media/image73.png"/></Relationships>
</file>

<file path=ppt/slides/_rels/slide3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79.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8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5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90.png"/></Relationships>
</file>

<file path=ppt/slides/_rels/slide5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image" Target="../media/image94.png"/><Relationship Id="rId5" Type="http://schemas.openxmlformats.org/officeDocument/2006/relationships/image" Target="../media/image93.png"/><Relationship Id="rId10" Type="http://schemas.openxmlformats.org/officeDocument/2006/relationships/image" Target="../media/image98.emf"/><Relationship Id="rId4" Type="http://schemas.openxmlformats.org/officeDocument/2006/relationships/image" Target="../media/image92.png"/><Relationship Id="rId9" Type="http://schemas.openxmlformats.org/officeDocument/2006/relationships/image" Target="../media/image97.png"/></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8.xml"/><Relationship Id="rId4" Type="http://schemas.openxmlformats.org/officeDocument/2006/relationships/image" Target="../media/image82.png"/></Relationships>
</file>

<file path=ppt/slides/_rels/slide6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4.xml"/><Relationship Id="rId1" Type="http://schemas.openxmlformats.org/officeDocument/2006/relationships/slideLayout" Target="../slideLayouts/slideLayout31.xml"/></Relationships>
</file>

<file path=ppt/slides/_rels/slide6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7.xml"/></Relationships>
</file>

<file path=ppt/slides/_rels/slide66.xml.rels><?xml version="1.0" encoding="UTF-8" standalone="yes"?>
<Relationships xmlns="http://schemas.openxmlformats.org/package/2006/relationships"><Relationship Id="rId3" Type="http://schemas.openxmlformats.org/officeDocument/2006/relationships/hyperlink" Target="https://service.elsevier.com/app/contact/supporthub/engineering-village/" TargetMode="External"/><Relationship Id="rId2" Type="http://schemas.openxmlformats.org/officeDocument/2006/relationships/hyperlink" Target="https://www.elsevier.com/solutions/engineering-village/content/selection-criteria" TargetMode="External"/><Relationship Id="rId1" Type="http://schemas.openxmlformats.org/officeDocument/2006/relationships/slideLayout" Target="../slideLayouts/slideLayout27.xml"/><Relationship Id="rId5" Type="http://schemas.openxmlformats.org/officeDocument/2006/relationships/hyperlink" Target="https://www.elsevier.com/solutions/engineering-village/content" TargetMode="External"/><Relationship Id="rId4" Type="http://schemas.openxmlformats.org/officeDocument/2006/relationships/hyperlink" Target="mailto:editorial@engineeringvillage.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hyperlink" Target="https://service.elsevier.com/app/chat/chat_launch/supporthub/engineering-village/" TargetMode="External"/><Relationship Id="rId2" Type="http://schemas.openxmlformats.org/officeDocument/2006/relationships/hyperlink" Target="https://service.elsevier.com/app/contact/supporthub/engineering-village/" TargetMode="External"/><Relationship Id="rId1" Type="http://schemas.openxmlformats.org/officeDocument/2006/relationships/slideLayout" Target="../slideLayouts/slideLayout32.xml"/><Relationship Id="rId5" Type="http://schemas.openxmlformats.org/officeDocument/2006/relationships/hyperlink" Target="mailto:titlesuggestion@engineeringvillage.com" TargetMode="External"/><Relationship Id="rId4" Type="http://schemas.openxmlformats.org/officeDocument/2006/relationships/hyperlink" Target="mailto:editorial@engineeringvillage.com"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s://www.elsevier.com/zh-cn/solutions/engineering-village" TargetMode="External"/><Relationship Id="rId2" Type="http://schemas.openxmlformats.org/officeDocument/2006/relationships/notesSlide" Target="../notesSlides/notesSlide36.xml"/><Relationship Id="rId1" Type="http://schemas.openxmlformats.org/officeDocument/2006/relationships/slideLayout" Target="../slideLayouts/slideLayout32.xml"/><Relationship Id="rId4" Type="http://schemas.openxmlformats.org/officeDocument/2006/relationships/hyperlink" Target="http://www.elsevier.com/engineering-village"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7.xml"/></Relationships>
</file>

<file path=ppt/slides/_rels/slide70.xml.rels><?xml version="1.0" encoding="UTF-8" standalone="yes"?>
<Relationships xmlns="http://schemas.openxmlformats.org/package/2006/relationships"><Relationship Id="rId3" Type="http://schemas.openxmlformats.org/officeDocument/2006/relationships/hyperlink" Target="https://service.elsevier.com/app/contact/supporthub/engineering-village/" TargetMode="External"/><Relationship Id="rId2" Type="http://schemas.openxmlformats.org/officeDocument/2006/relationships/hyperlink" Target="https://www.elsevier.com/solutions/engineering-village/content/selection-criteria" TargetMode="External"/><Relationship Id="rId1" Type="http://schemas.openxmlformats.org/officeDocument/2006/relationships/slideLayout" Target="../slideLayouts/slideLayout27.xml"/><Relationship Id="rId5" Type="http://schemas.openxmlformats.org/officeDocument/2006/relationships/hyperlink" Target="https://www.elsevier.com/solutions/engineering-village/content" TargetMode="External"/><Relationship Id="rId4" Type="http://schemas.openxmlformats.org/officeDocument/2006/relationships/hyperlink" Target="mailto:editorial@engineeringvillage.com"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7.xml"/><Relationship Id="rId1" Type="http://schemas.openxmlformats.org/officeDocument/2006/relationships/slideLayout" Target="../slideLayouts/slideLayout33.xml"/><Relationship Id="rId4" Type="http://schemas.openxmlformats.org/officeDocument/2006/relationships/image" Target="../media/image107.png"/></Relationships>
</file>

<file path=ppt/slides/_rels/slide72.xml.rels><?xml version="1.0" encoding="UTF-8" standalone="yes"?>
<Relationships xmlns="http://schemas.openxmlformats.org/package/2006/relationships"><Relationship Id="rId8" Type="http://schemas.openxmlformats.org/officeDocument/2006/relationships/hyperlink" Target="mailto:editorial@engineeringvillage.com" TargetMode="External"/><Relationship Id="rId3" Type="http://schemas.openxmlformats.org/officeDocument/2006/relationships/hyperlink" Target="https://www.elsevier.com/solutions/engineering-village/content" TargetMode="External"/><Relationship Id="rId7" Type="http://schemas.openxmlformats.org/officeDocument/2006/relationships/hyperlink" Target="https://service.elsevier.com/app/contact/supporthub/engineering-village/" TargetMode="External"/><Relationship Id="rId2" Type="http://schemas.openxmlformats.org/officeDocument/2006/relationships/notesSlide" Target="../notesSlides/notesSlide38.xml"/><Relationship Id="rId1" Type="http://schemas.openxmlformats.org/officeDocument/2006/relationships/slideLayout" Target="../slideLayouts/slideLayout30.xml"/><Relationship Id="rId6" Type="http://schemas.openxmlformats.org/officeDocument/2006/relationships/hyperlink" Target="https://twitter.com/engvillage" TargetMode="External"/><Relationship Id="rId5" Type="http://schemas.openxmlformats.org/officeDocument/2006/relationships/hyperlink" Target="https://blog.engineeringvillage.com/" TargetMode="External"/><Relationship Id="rId4" Type="http://schemas.openxmlformats.org/officeDocument/2006/relationships/hyperlink" Target="https://www.elsever.com/zh-cn/solutions/engineering-village" TargetMode="External"/><Relationship Id="rId9" Type="http://schemas.openxmlformats.org/officeDocument/2006/relationships/hyperlink" Target="mailto:titlesuggestion@engineeringvillage.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ctrTitle"/>
          </p:nvPr>
        </p:nvSpPr>
        <p:spPr>
          <a:xfrm>
            <a:off x="268941" y="2297239"/>
            <a:ext cx="5680758" cy="1744133"/>
          </a:xfrm>
        </p:spPr>
        <p:txBody>
          <a:bodyPr>
            <a:normAutofit/>
          </a:bodyPr>
          <a:lstStyle/>
          <a:p>
            <a:r>
              <a:rPr lang="en-US" altLang="zh-CN" sz="3200" dirty="0"/>
              <a:t>Engineering Village-</a:t>
            </a:r>
            <a:br>
              <a:rPr lang="en-US" altLang="zh-CN" sz="3200" dirty="0"/>
            </a:br>
            <a:r>
              <a:rPr lang="zh-CN" altLang="en-US" sz="3200" dirty="0"/>
              <a:t>开展工程领域研究的首选方案</a:t>
            </a:r>
            <a:endParaRPr lang="en-US" sz="3200" dirty="0"/>
          </a:p>
        </p:txBody>
      </p:sp>
      <p:sp>
        <p:nvSpPr>
          <p:cNvPr id="13" name="Text Placeholder 12"/>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15413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2">
            <a:extLst>
              <a:ext uri="{FF2B5EF4-FFF2-40B4-BE49-F238E27FC236}">
                <a16:creationId xmlns:a16="http://schemas.microsoft.com/office/drawing/2014/main" id="{3D4B6C14-754A-48A2-8C34-7077EBEC90C3}"/>
              </a:ext>
            </a:extLst>
          </p:cNvPr>
          <p:cNvSpPr>
            <a:spLocks noGrp="1" noChangeArrowheads="1"/>
          </p:cNvSpPr>
          <p:nvPr>
            <p:ph type="ctrTitle"/>
          </p:nvPr>
        </p:nvSpPr>
        <p:spPr>
          <a:xfrm>
            <a:off x="1335882" y="2085975"/>
            <a:ext cx="4233386" cy="1102995"/>
          </a:xfrm>
        </p:spPr>
        <p:txBody>
          <a:bodyPr/>
          <a:lstStyle/>
          <a:p>
            <a:pPr eaLnBrk="1" hangingPunct="1"/>
            <a:r>
              <a:rPr lang="zh-CN" altLang="en-US" sz="2880"/>
              <a:t>在工科文献调研中的应用</a:t>
            </a:r>
            <a:r>
              <a:rPr lang="en-US" altLang="zh-CN" sz="2880"/>
              <a:t>EI</a:t>
            </a:r>
            <a:r>
              <a:rPr lang="zh-CN" altLang="en-US" sz="2880"/>
              <a:t>数据库</a:t>
            </a:r>
            <a:endParaRPr lang="en-US" altLang="en-US">
              <a:ea typeface="黑体" panose="02010609060101010101" pitchFamily="49" charset="-122"/>
            </a:endParaRPr>
          </a:p>
        </p:txBody>
      </p:sp>
    </p:spTree>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592BC-36E2-4FA0-B228-E3714607365E}"/>
              </a:ext>
            </a:extLst>
          </p:cNvPr>
          <p:cNvSpPr>
            <a:spLocks noGrp="1"/>
          </p:cNvSpPr>
          <p:nvPr>
            <p:ph type="title"/>
          </p:nvPr>
        </p:nvSpPr>
        <p:spPr>
          <a:xfrm>
            <a:off x="1331595" y="547212"/>
            <a:ext cx="6177915" cy="314325"/>
          </a:xfrm>
        </p:spPr>
        <p:txBody>
          <a:bodyPr rtlCol="0">
            <a:noAutofit/>
          </a:bodyPr>
          <a:lstStyle/>
          <a:p>
            <a:pPr defTabSz="342887">
              <a:defRPr/>
            </a:pPr>
            <a:r>
              <a:rPr lang="zh-CN" altLang="en-US" sz="1500" dirty="0"/>
              <a:t>一、文献收集重点</a:t>
            </a:r>
            <a:r>
              <a:rPr lang="en-US" altLang="zh-CN" sz="1500" dirty="0"/>
              <a:t>-</a:t>
            </a:r>
            <a:r>
              <a:rPr lang="zh-CN" altLang="en-US" sz="1500" dirty="0"/>
              <a:t>文献调研阶段</a:t>
            </a:r>
            <a:endParaRPr lang="en-US" sz="1500" dirty="0"/>
          </a:p>
        </p:txBody>
      </p:sp>
      <p:graphicFrame>
        <p:nvGraphicFramePr>
          <p:cNvPr id="4" name="Content Placeholder 3">
            <a:extLst>
              <a:ext uri="{FF2B5EF4-FFF2-40B4-BE49-F238E27FC236}">
                <a16:creationId xmlns:a16="http://schemas.microsoft.com/office/drawing/2014/main" id="{C4B6875B-9915-4720-A5C1-D7C7739D6564}"/>
              </a:ext>
            </a:extLst>
          </p:cNvPr>
          <p:cNvGraphicFramePr>
            <a:graphicFrameLocks noGrp="1"/>
          </p:cNvGraphicFramePr>
          <p:nvPr>
            <p:ph idx="1"/>
            <p:extLst>
              <p:ext uri="{D42A27DB-BD31-4B8C-83A1-F6EECF244321}">
                <p14:modId xmlns:p14="http://schemas.microsoft.com/office/powerpoint/2010/main" val="1453598425"/>
              </p:ext>
            </p:extLst>
          </p:nvPr>
        </p:nvGraphicFramePr>
        <p:xfrm>
          <a:off x="591671" y="1198709"/>
          <a:ext cx="7945290" cy="32119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4BE4D7CF-4F5E-4B29-BDCD-AD7ED1DA74BC}"/>
              </a:ext>
            </a:extLst>
          </p:cNvPr>
          <p:cNvSpPr txBox="1"/>
          <p:nvPr/>
        </p:nvSpPr>
        <p:spPr>
          <a:xfrm>
            <a:off x="4256247" y="4776312"/>
            <a:ext cx="3461861" cy="207749"/>
          </a:xfrm>
          <a:prstGeom prst="rect">
            <a:avLst/>
          </a:prstGeom>
          <a:noFill/>
        </p:spPr>
        <p:txBody>
          <a:bodyPr>
            <a:spAutoFit/>
          </a:bodyPr>
          <a:lstStyle/>
          <a:p>
            <a:pPr defTabSz="320954">
              <a:defRPr/>
            </a:pPr>
            <a:r>
              <a:rPr lang="zh-CN" altLang="en-US" sz="750" dirty="0"/>
              <a:t>此页引自清华大学图书馆钱俊雯</a:t>
            </a:r>
            <a:r>
              <a:rPr lang="en-US" altLang="zh-CN" sz="750" dirty="0"/>
              <a:t>《</a:t>
            </a:r>
            <a:r>
              <a:rPr lang="zh-CN" altLang="en-US" sz="750" dirty="0"/>
              <a:t>开题与立项前的文献调研概述（理工类）</a:t>
            </a:r>
            <a:r>
              <a:rPr lang="en-US" altLang="zh-CN" sz="750" dirty="0"/>
              <a:t>》</a:t>
            </a:r>
            <a:endParaRPr lang="en-US" sz="750" dirty="0"/>
          </a:p>
        </p:txBody>
      </p:sp>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3">
            <a:extLst>
              <a:ext uri="{FF2B5EF4-FFF2-40B4-BE49-F238E27FC236}">
                <a16:creationId xmlns:a16="http://schemas.microsoft.com/office/drawing/2014/main" id="{A8BB6EAF-7D5E-4728-A550-B7A56F8311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1649" y="1390810"/>
            <a:ext cx="6517870" cy="3028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D5A965FA-EF0C-4096-8043-0EFF105C00A8}"/>
              </a:ext>
            </a:extLst>
          </p:cNvPr>
          <p:cNvSpPr>
            <a:spLocks noGrp="1"/>
          </p:cNvSpPr>
          <p:nvPr>
            <p:ph type="title"/>
          </p:nvPr>
        </p:nvSpPr>
        <p:spPr>
          <a:xfrm>
            <a:off x="753670" y="446731"/>
            <a:ext cx="6625113" cy="622935"/>
          </a:xfrm>
        </p:spPr>
        <p:txBody>
          <a:bodyPr rtlCol="0">
            <a:noAutofit/>
          </a:bodyPr>
          <a:lstStyle/>
          <a:p>
            <a:pPr defTabSz="342887">
              <a:defRPr/>
            </a:pPr>
            <a:r>
              <a:rPr lang="zh-CN" altLang="en-US" sz="1500" dirty="0"/>
              <a:t>二、先看综述性论文，再看研究论文。</a:t>
            </a:r>
            <a:br>
              <a:rPr lang="zh-CN" altLang="en-US" sz="1500" dirty="0"/>
            </a:br>
            <a:endParaRPr lang="en-US" sz="1500" dirty="0"/>
          </a:p>
        </p:txBody>
      </p:sp>
      <p:sp>
        <p:nvSpPr>
          <p:cNvPr id="3" name="Content Placeholder 2">
            <a:extLst>
              <a:ext uri="{FF2B5EF4-FFF2-40B4-BE49-F238E27FC236}">
                <a16:creationId xmlns:a16="http://schemas.microsoft.com/office/drawing/2014/main" id="{A625F74A-D151-45EC-ABFE-224E13205260}"/>
              </a:ext>
            </a:extLst>
          </p:cNvPr>
          <p:cNvSpPr>
            <a:spLocks noGrp="1"/>
          </p:cNvSpPr>
          <p:nvPr>
            <p:ph idx="1"/>
          </p:nvPr>
        </p:nvSpPr>
        <p:spPr>
          <a:xfrm>
            <a:off x="576131" y="858885"/>
            <a:ext cx="7991738" cy="3425729"/>
          </a:xfrm>
        </p:spPr>
        <p:txBody>
          <a:bodyPr rtlCol="0">
            <a:noAutofit/>
          </a:bodyPr>
          <a:lstStyle/>
          <a:p>
            <a:pPr marL="129774" indent="-123820" defTabSz="342887">
              <a:spcAft>
                <a:spcPts val="0"/>
              </a:spcAft>
              <a:buFont typeface="Arial"/>
              <a:buChar char="•"/>
              <a:defRPr/>
            </a:pPr>
            <a:r>
              <a:rPr lang="zh-CN" altLang="en-US" sz="1500" dirty="0"/>
              <a:t>特点：综合性、扼要性和评价性，参考文献多。</a:t>
            </a:r>
          </a:p>
          <a:p>
            <a:pPr marL="129774" indent="-123820" defTabSz="342887">
              <a:spcAft>
                <a:spcPts val="0"/>
              </a:spcAft>
              <a:buFont typeface="Arial"/>
              <a:buChar char="•"/>
              <a:defRPr/>
            </a:pPr>
            <a:r>
              <a:rPr lang="zh-CN" altLang="en-US" sz="1500" dirty="0"/>
              <a:t>应作为“起步文献”加以参考利用。</a:t>
            </a:r>
            <a:endParaRPr lang="en-US" sz="1500" dirty="0"/>
          </a:p>
        </p:txBody>
      </p:sp>
      <p:sp>
        <p:nvSpPr>
          <p:cNvPr id="5" name="Rounded Rectangular Callout 4">
            <a:extLst>
              <a:ext uri="{FF2B5EF4-FFF2-40B4-BE49-F238E27FC236}">
                <a16:creationId xmlns:a16="http://schemas.microsoft.com/office/drawing/2014/main" id="{385546BD-11D8-4E6F-B2B8-87F273589488}"/>
              </a:ext>
            </a:extLst>
          </p:cNvPr>
          <p:cNvSpPr/>
          <p:nvPr/>
        </p:nvSpPr>
        <p:spPr bwMode="auto">
          <a:xfrm>
            <a:off x="5129893" y="3268727"/>
            <a:ext cx="2245642" cy="794658"/>
          </a:xfrm>
          <a:prstGeom prst="wedgeRoundRectCallout">
            <a:avLst>
              <a:gd name="adj1" fmla="val -13195"/>
              <a:gd name="adj2" fmla="val -94330"/>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dirty="0">
                <a:solidFill>
                  <a:schemeClr val="bg1"/>
                </a:solidFill>
                <a:ea typeface="MS PGothic" panose="020B0600070205080204" pitchFamily="34" charset="-128"/>
              </a:rPr>
              <a:t>Literature Review</a:t>
            </a:r>
          </a:p>
          <a:p>
            <a:pPr algn="ctr" eaLnBrk="1" hangingPunct="1">
              <a:spcBef>
                <a:spcPct val="50000"/>
              </a:spcBef>
              <a:defRPr/>
            </a:pPr>
            <a:r>
              <a:rPr lang="zh-CN" altLang="en-US" sz="1440" dirty="0">
                <a:solidFill>
                  <a:schemeClr val="bg1"/>
                </a:solidFill>
                <a:ea typeface="MS PGothic" panose="020B0600070205080204" pitchFamily="34" charset="-128"/>
              </a:rPr>
              <a:t>文献综述 </a:t>
            </a:r>
            <a:endParaRPr lang="en-US" altLang="en-US" sz="1440" dirty="0">
              <a:solidFill>
                <a:schemeClr val="bg1"/>
              </a:solidFill>
              <a:ea typeface="MS PGothic" panose="020B0600070205080204" pitchFamily="34" charset="-128"/>
            </a:endParaRPr>
          </a:p>
        </p:txBody>
      </p:sp>
      <p:sp>
        <p:nvSpPr>
          <p:cNvPr id="6" name="Rectangle 5">
            <a:extLst>
              <a:ext uri="{FF2B5EF4-FFF2-40B4-BE49-F238E27FC236}">
                <a16:creationId xmlns:a16="http://schemas.microsoft.com/office/drawing/2014/main" id="{330BDED4-97A7-4954-8B6B-79D44746E903}"/>
              </a:ext>
            </a:extLst>
          </p:cNvPr>
          <p:cNvSpPr/>
          <p:nvPr/>
        </p:nvSpPr>
        <p:spPr>
          <a:xfrm>
            <a:off x="4109085" y="4820603"/>
            <a:ext cx="3470434" cy="207749"/>
          </a:xfrm>
          <a:prstGeom prst="rect">
            <a:avLst/>
          </a:prstGeom>
        </p:spPr>
        <p:txBody>
          <a:bodyPr>
            <a:spAutoFit/>
          </a:bodyPr>
          <a:lstStyle/>
          <a:p>
            <a:pPr defTabSz="320954">
              <a:defRPr/>
            </a:pPr>
            <a:r>
              <a:rPr lang="zh-CN" altLang="en-US" sz="750" dirty="0"/>
              <a:t>此页引自清华大学图书馆钱俊雯</a:t>
            </a:r>
            <a:r>
              <a:rPr lang="en-US" altLang="zh-CN" sz="750" dirty="0"/>
              <a:t>《</a:t>
            </a:r>
            <a:r>
              <a:rPr lang="zh-CN" altLang="en-US" sz="750" dirty="0"/>
              <a:t>开题与立项前的文献调研概述（理工类）</a:t>
            </a:r>
            <a:r>
              <a:rPr lang="en-US" altLang="zh-CN" sz="750" dirty="0"/>
              <a:t>》</a:t>
            </a:r>
            <a:endParaRPr lang="en-US" sz="750" dirty="0"/>
          </a:p>
        </p:txBody>
      </p:sp>
      <p:sp>
        <p:nvSpPr>
          <p:cNvPr id="9" name="Rounded Rectangular Callout 4">
            <a:extLst>
              <a:ext uri="{FF2B5EF4-FFF2-40B4-BE49-F238E27FC236}">
                <a16:creationId xmlns:a16="http://schemas.microsoft.com/office/drawing/2014/main" id="{EF34D140-AC47-499B-9AC7-ED4DED36E64A}"/>
              </a:ext>
            </a:extLst>
          </p:cNvPr>
          <p:cNvSpPr/>
          <p:nvPr/>
        </p:nvSpPr>
        <p:spPr bwMode="auto">
          <a:xfrm>
            <a:off x="2247522" y="3268727"/>
            <a:ext cx="2245642" cy="794658"/>
          </a:xfrm>
          <a:prstGeom prst="wedgeRoundRectCallout">
            <a:avLst>
              <a:gd name="adj1" fmla="val -13195"/>
              <a:gd name="adj2" fmla="val -94330"/>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dirty="0">
                <a:solidFill>
                  <a:schemeClr val="bg1"/>
                </a:solidFill>
                <a:ea typeface="MS PGothic" panose="020B0600070205080204" pitchFamily="34" charset="-128"/>
              </a:rPr>
              <a:t>General Review</a:t>
            </a:r>
          </a:p>
          <a:p>
            <a:pPr algn="ctr" eaLnBrk="1" hangingPunct="1">
              <a:spcBef>
                <a:spcPct val="50000"/>
              </a:spcBef>
              <a:defRPr/>
            </a:pPr>
            <a:r>
              <a:rPr lang="zh-CN" altLang="en-US" sz="1440" dirty="0">
                <a:solidFill>
                  <a:schemeClr val="bg1"/>
                </a:solidFill>
                <a:ea typeface="MS PGothic" panose="020B0600070205080204" pitchFamily="34" charset="-128"/>
              </a:rPr>
              <a:t>综述</a:t>
            </a:r>
            <a:endParaRPr lang="en-US" altLang="en-US" sz="1440" dirty="0">
              <a:solidFill>
                <a:schemeClr val="bg1"/>
              </a:solidFill>
              <a:ea typeface="MS PGothic" panose="020B0600070205080204" pitchFamily="34" charset="-128"/>
            </a:endParaRPr>
          </a:p>
        </p:txBody>
      </p:sp>
    </p:spTree>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105FAA0C-7969-4FC0-8BD2-E122586036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1993" y="1721017"/>
            <a:ext cx="5956085" cy="2747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F3018727-A7B4-4574-85DA-1853D410250B}"/>
              </a:ext>
            </a:extLst>
          </p:cNvPr>
          <p:cNvSpPr>
            <a:spLocks noGrp="1"/>
          </p:cNvSpPr>
          <p:nvPr>
            <p:ph type="title"/>
          </p:nvPr>
        </p:nvSpPr>
        <p:spPr>
          <a:xfrm>
            <a:off x="1375887" y="450057"/>
            <a:ext cx="6625113" cy="345758"/>
          </a:xfrm>
        </p:spPr>
        <p:txBody>
          <a:bodyPr rtlCol="0">
            <a:noAutofit/>
          </a:bodyPr>
          <a:lstStyle/>
          <a:p>
            <a:pPr defTabSz="342887">
              <a:defRPr/>
            </a:pPr>
            <a:r>
              <a:rPr lang="zh-CN" altLang="en-US" sz="1500" dirty="0"/>
              <a:t>三、注重学位论文的检索和阅读。</a:t>
            </a:r>
            <a:endParaRPr lang="en-US" sz="1500" dirty="0"/>
          </a:p>
        </p:txBody>
      </p:sp>
      <p:sp>
        <p:nvSpPr>
          <p:cNvPr id="3" name="Content Placeholder 2">
            <a:extLst>
              <a:ext uri="{FF2B5EF4-FFF2-40B4-BE49-F238E27FC236}">
                <a16:creationId xmlns:a16="http://schemas.microsoft.com/office/drawing/2014/main" id="{E725E05D-CA24-4B12-8D67-5334D495D30F}"/>
              </a:ext>
            </a:extLst>
          </p:cNvPr>
          <p:cNvSpPr>
            <a:spLocks noGrp="1"/>
          </p:cNvSpPr>
          <p:nvPr>
            <p:ph idx="1"/>
          </p:nvPr>
        </p:nvSpPr>
        <p:spPr>
          <a:xfrm>
            <a:off x="1655922" y="850107"/>
            <a:ext cx="5943600" cy="3030378"/>
          </a:xfrm>
        </p:spPr>
        <p:txBody>
          <a:bodyPr numCol="1" rtlCol="0">
            <a:noAutofit/>
          </a:bodyPr>
          <a:lstStyle/>
          <a:p>
            <a:pPr marL="5954" indent="0" defTabSz="342887">
              <a:spcAft>
                <a:spcPts val="0"/>
              </a:spcAft>
              <a:buNone/>
              <a:defRPr/>
            </a:pPr>
            <a:r>
              <a:rPr lang="zh-CN" altLang="en-US" sz="1500" dirty="0"/>
              <a:t>五个显著特点：                             ⑶ 可得到课题研究现状综述</a:t>
            </a:r>
          </a:p>
          <a:p>
            <a:pPr marL="5954" indent="0" defTabSz="342887">
              <a:spcAft>
                <a:spcPts val="0"/>
              </a:spcAft>
              <a:buNone/>
              <a:defRPr/>
            </a:pPr>
            <a:r>
              <a:rPr lang="zh-CN" altLang="en-US" sz="1500" dirty="0"/>
              <a:t>⑴ 数据图表充分详尽                     ⑷ 可跟踪名校导师的科研进程</a:t>
            </a:r>
            <a:endParaRPr lang="en-US" altLang="zh-CN" sz="1500" dirty="0"/>
          </a:p>
          <a:p>
            <a:pPr marL="5954" indent="0" defTabSz="342887">
              <a:spcAft>
                <a:spcPts val="0"/>
              </a:spcAft>
              <a:buNone/>
              <a:defRPr/>
            </a:pPr>
            <a:r>
              <a:rPr lang="zh-CN" altLang="en-US" sz="1500" dirty="0"/>
              <a:t>⑵ 参考文献丰富全面                     ⑸ 学习学位论文的写作方法</a:t>
            </a:r>
            <a:endParaRPr lang="en-US" sz="1500" dirty="0"/>
          </a:p>
          <a:p>
            <a:pPr marL="5954" indent="0" defTabSz="342887">
              <a:spcAft>
                <a:spcPts val="0"/>
              </a:spcAft>
              <a:buNone/>
              <a:defRPr/>
            </a:pPr>
            <a:endParaRPr lang="zh-CN" altLang="en-US" sz="1500" dirty="0"/>
          </a:p>
          <a:p>
            <a:pPr marL="5954" indent="0" defTabSz="342887">
              <a:spcAft>
                <a:spcPts val="0"/>
              </a:spcAft>
              <a:buNone/>
              <a:defRPr/>
            </a:pPr>
            <a:endParaRPr lang="en-US" altLang="zh-CN" sz="1500" dirty="0"/>
          </a:p>
        </p:txBody>
      </p:sp>
      <p:sp>
        <p:nvSpPr>
          <p:cNvPr id="5" name="TextBox 4">
            <a:extLst>
              <a:ext uri="{FF2B5EF4-FFF2-40B4-BE49-F238E27FC236}">
                <a16:creationId xmlns:a16="http://schemas.microsoft.com/office/drawing/2014/main" id="{6F434F63-6EC0-40E2-98D7-3A49123C045D}"/>
              </a:ext>
            </a:extLst>
          </p:cNvPr>
          <p:cNvSpPr txBox="1"/>
          <p:nvPr/>
        </p:nvSpPr>
        <p:spPr>
          <a:xfrm>
            <a:off x="7303771" y="968566"/>
            <a:ext cx="1460771" cy="416396"/>
          </a:xfrm>
          <a:prstGeom prst="rect">
            <a:avLst/>
          </a:prstGeom>
          <a:noFill/>
        </p:spPr>
        <p:txBody>
          <a:bodyPr wrap="square">
            <a:spAutoFit/>
          </a:bodyPr>
          <a:lstStyle/>
          <a:p>
            <a:pPr defTabSz="320954">
              <a:defRPr/>
            </a:pPr>
            <a:r>
              <a:rPr lang="zh-CN" altLang="en-US" sz="1053" dirty="0"/>
              <a:t>可以获得课题研究的更多相关文献</a:t>
            </a:r>
            <a:endParaRPr lang="en-US" sz="1053" dirty="0"/>
          </a:p>
        </p:txBody>
      </p:sp>
      <p:sp>
        <p:nvSpPr>
          <p:cNvPr id="20487" name="Rounded Rectangle 5">
            <a:extLst>
              <a:ext uri="{FF2B5EF4-FFF2-40B4-BE49-F238E27FC236}">
                <a16:creationId xmlns:a16="http://schemas.microsoft.com/office/drawing/2014/main" id="{F6744A10-2951-41DE-9117-832A32D2B38E}"/>
              </a:ext>
            </a:extLst>
          </p:cNvPr>
          <p:cNvSpPr>
            <a:spLocks noChangeArrowheads="1"/>
          </p:cNvSpPr>
          <p:nvPr/>
        </p:nvSpPr>
        <p:spPr bwMode="auto">
          <a:xfrm>
            <a:off x="7303771" y="1009516"/>
            <a:ext cx="1356135" cy="375446"/>
          </a:xfrm>
          <a:prstGeom prst="roundRect">
            <a:avLst>
              <a:gd name="adj" fmla="val 50000"/>
            </a:avLst>
          </a:prstGeom>
          <a:noFill/>
          <a:ln w="2857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
        <p:nvSpPr>
          <p:cNvPr id="8" name="Rounded Rectangular Callout 7">
            <a:extLst>
              <a:ext uri="{FF2B5EF4-FFF2-40B4-BE49-F238E27FC236}">
                <a16:creationId xmlns:a16="http://schemas.microsoft.com/office/drawing/2014/main" id="{4DCB0687-97A3-48C6-B67D-2DA26A7A0D02}"/>
              </a:ext>
            </a:extLst>
          </p:cNvPr>
          <p:cNvSpPr/>
          <p:nvPr/>
        </p:nvSpPr>
        <p:spPr bwMode="auto">
          <a:xfrm>
            <a:off x="6124530" y="2255872"/>
            <a:ext cx="2245642" cy="794658"/>
          </a:xfrm>
          <a:prstGeom prst="wedgeRoundRectCallout">
            <a:avLst>
              <a:gd name="adj1" fmla="val -109451"/>
              <a:gd name="adj2" fmla="val 47685"/>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fontAlgn="base">
              <a:spcBef>
                <a:spcPct val="0"/>
              </a:spcBef>
              <a:spcAft>
                <a:spcPct val="0"/>
              </a:spcAft>
              <a:defRPr sz="1400">
                <a:solidFill>
                  <a:schemeClr val="tx1"/>
                </a:solidFill>
                <a:latin typeface="Arial" panose="020B0604020202020204" pitchFamily="34" charset="0"/>
              </a:defRPr>
            </a:lvl6pPr>
            <a:lvl7pPr marL="2971800" indent="-228600" defTabSz="355600" fontAlgn="base">
              <a:spcBef>
                <a:spcPct val="0"/>
              </a:spcBef>
              <a:spcAft>
                <a:spcPct val="0"/>
              </a:spcAft>
              <a:defRPr sz="1400">
                <a:solidFill>
                  <a:schemeClr val="tx1"/>
                </a:solidFill>
                <a:latin typeface="Arial" panose="020B0604020202020204" pitchFamily="34" charset="0"/>
              </a:defRPr>
            </a:lvl7pPr>
            <a:lvl8pPr marL="3429000" indent="-228600" defTabSz="355600" fontAlgn="base">
              <a:spcBef>
                <a:spcPct val="0"/>
              </a:spcBef>
              <a:spcAft>
                <a:spcPct val="0"/>
              </a:spcAft>
              <a:defRPr sz="1400">
                <a:solidFill>
                  <a:schemeClr val="tx1"/>
                </a:solidFill>
                <a:latin typeface="Arial" panose="020B0604020202020204" pitchFamily="34" charset="0"/>
              </a:defRPr>
            </a:lvl8pPr>
            <a:lvl9pPr marL="3886200" indent="-228600" defTabSz="355600"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990">
                <a:solidFill>
                  <a:schemeClr val="bg1"/>
                </a:solidFill>
                <a:ea typeface="MS PGothic" panose="020B0600070205080204" pitchFamily="34" charset="-128"/>
              </a:rPr>
              <a:t>ProQuest  Dissertation</a:t>
            </a:r>
          </a:p>
          <a:p>
            <a:pPr algn="ctr" eaLnBrk="1" hangingPunct="1">
              <a:spcBef>
                <a:spcPct val="50000"/>
              </a:spcBef>
              <a:defRPr/>
            </a:pPr>
            <a:r>
              <a:rPr lang="zh-CN" altLang="en-US" sz="1440">
                <a:solidFill>
                  <a:schemeClr val="bg1"/>
                </a:solidFill>
                <a:ea typeface="MS PGothic" panose="020B0600070205080204" pitchFamily="34" charset="-128"/>
              </a:rPr>
              <a:t>学位论文</a:t>
            </a:r>
            <a:endParaRPr lang="en-US" altLang="en-US" sz="1440">
              <a:solidFill>
                <a:schemeClr val="bg1"/>
              </a:solidFill>
              <a:ea typeface="MS PGothic" panose="020B0600070205080204" pitchFamily="34" charset="-128"/>
            </a:endParaRPr>
          </a:p>
        </p:txBody>
      </p:sp>
      <p:sp>
        <p:nvSpPr>
          <p:cNvPr id="10" name="Rectangle 9">
            <a:extLst>
              <a:ext uri="{FF2B5EF4-FFF2-40B4-BE49-F238E27FC236}">
                <a16:creationId xmlns:a16="http://schemas.microsoft.com/office/drawing/2014/main" id="{D3B07FFD-5AD2-422A-903B-22DD8792F30D}"/>
              </a:ext>
            </a:extLst>
          </p:cNvPr>
          <p:cNvSpPr/>
          <p:nvPr/>
        </p:nvSpPr>
        <p:spPr>
          <a:xfrm>
            <a:off x="4533425" y="4897756"/>
            <a:ext cx="3470433" cy="207749"/>
          </a:xfrm>
          <a:prstGeom prst="rect">
            <a:avLst/>
          </a:prstGeom>
        </p:spPr>
        <p:txBody>
          <a:bodyPr>
            <a:spAutoFit/>
          </a:bodyPr>
          <a:lstStyle/>
          <a:p>
            <a:pPr defTabSz="320954">
              <a:defRPr/>
            </a:pPr>
            <a:r>
              <a:rPr lang="zh-CN" altLang="en-US" sz="750" dirty="0"/>
              <a:t>此页引自清华大学图书馆钱俊雯</a:t>
            </a:r>
            <a:r>
              <a:rPr lang="en-US" altLang="zh-CN" sz="750" dirty="0"/>
              <a:t>《</a:t>
            </a:r>
            <a:r>
              <a:rPr lang="zh-CN" altLang="en-US" sz="750" dirty="0"/>
              <a:t>开题与立项前的文献调研概述（理工类）</a:t>
            </a:r>
            <a:r>
              <a:rPr lang="en-US" altLang="zh-CN" sz="750" dirty="0"/>
              <a:t>》</a:t>
            </a:r>
            <a:endParaRPr lang="en-US" sz="750" dirty="0"/>
          </a:p>
        </p:txBody>
      </p:sp>
      <p:sp>
        <p:nvSpPr>
          <p:cNvPr id="11" name="Right Brace 3">
            <a:extLst>
              <a:ext uri="{FF2B5EF4-FFF2-40B4-BE49-F238E27FC236}">
                <a16:creationId xmlns:a16="http://schemas.microsoft.com/office/drawing/2014/main" id="{FAF2A7C4-33F6-4226-8C6E-34EDDB307983}"/>
              </a:ext>
            </a:extLst>
          </p:cNvPr>
          <p:cNvSpPr>
            <a:spLocks/>
          </p:cNvSpPr>
          <p:nvPr/>
        </p:nvSpPr>
        <p:spPr bwMode="auto">
          <a:xfrm>
            <a:off x="7020878" y="977357"/>
            <a:ext cx="282893" cy="501492"/>
          </a:xfrm>
          <a:prstGeom prst="rightBrace">
            <a:avLst>
              <a:gd name="adj1" fmla="val 0"/>
              <a:gd name="adj2" fmla="val 50000"/>
            </a:avLst>
          </a:prstGeom>
          <a:noFill/>
          <a:ln w="2857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Tree>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a:extLst>
              <a:ext uri="{FF2B5EF4-FFF2-40B4-BE49-F238E27FC236}">
                <a16:creationId xmlns:a16="http://schemas.microsoft.com/office/drawing/2014/main" id="{1DB7D62F-8924-4CB5-A570-D0FC7DF6B1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7417" y="1552175"/>
            <a:ext cx="6047675" cy="2884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BBDD5CF5-780A-40F5-B6EF-A179592B18A6}"/>
              </a:ext>
            </a:extLst>
          </p:cNvPr>
          <p:cNvSpPr>
            <a:spLocks noGrp="1"/>
          </p:cNvSpPr>
          <p:nvPr>
            <p:ph type="title"/>
          </p:nvPr>
        </p:nvSpPr>
        <p:spPr>
          <a:xfrm>
            <a:off x="1375887" y="450057"/>
            <a:ext cx="6625113" cy="345758"/>
          </a:xfrm>
        </p:spPr>
        <p:txBody>
          <a:bodyPr rtlCol="0">
            <a:noAutofit/>
          </a:bodyPr>
          <a:lstStyle/>
          <a:p>
            <a:pPr defTabSz="342887">
              <a:defRPr/>
            </a:pPr>
            <a:r>
              <a:rPr lang="zh-CN" altLang="en-US" sz="1500" dirty="0"/>
              <a:t>四、阅读本领域的主要研究者</a:t>
            </a:r>
            <a:r>
              <a:rPr lang="en-US" altLang="zh-CN" sz="1500" dirty="0"/>
              <a:t>/</a:t>
            </a:r>
            <a:r>
              <a:rPr lang="zh-CN" altLang="en-US" sz="1500" dirty="0"/>
              <a:t>机构的文献</a:t>
            </a:r>
            <a:endParaRPr lang="en-US" sz="1500" dirty="0"/>
          </a:p>
        </p:txBody>
      </p:sp>
      <p:sp>
        <p:nvSpPr>
          <p:cNvPr id="3" name="Content Placeholder 2">
            <a:extLst>
              <a:ext uri="{FF2B5EF4-FFF2-40B4-BE49-F238E27FC236}">
                <a16:creationId xmlns:a16="http://schemas.microsoft.com/office/drawing/2014/main" id="{9992AF35-9146-4DC0-A219-E8FCB77C5672}"/>
              </a:ext>
            </a:extLst>
          </p:cNvPr>
          <p:cNvSpPr>
            <a:spLocks noGrp="1"/>
          </p:cNvSpPr>
          <p:nvPr>
            <p:ph idx="1"/>
          </p:nvPr>
        </p:nvSpPr>
        <p:spPr>
          <a:xfrm>
            <a:off x="576131" y="858885"/>
            <a:ext cx="7991738" cy="3425729"/>
          </a:xfrm>
        </p:spPr>
        <p:txBody>
          <a:bodyPr rtlCol="0">
            <a:noAutofit/>
          </a:bodyPr>
          <a:lstStyle/>
          <a:p>
            <a:pPr marL="129774" indent="-123820" defTabSz="342887">
              <a:spcAft>
                <a:spcPts val="0"/>
              </a:spcAft>
              <a:buFont typeface="Arial"/>
              <a:buChar char="•"/>
              <a:defRPr/>
            </a:pPr>
            <a:r>
              <a:rPr lang="zh-CN" altLang="en-US" sz="1500" b="1" dirty="0">
                <a:solidFill>
                  <a:srgbClr val="FF0000"/>
                </a:solidFill>
              </a:rPr>
              <a:t>如何知道主要的研究者</a:t>
            </a:r>
            <a:r>
              <a:rPr lang="en-US" altLang="zh-CN" sz="1500" b="1" dirty="0">
                <a:solidFill>
                  <a:srgbClr val="FF0000"/>
                </a:solidFill>
              </a:rPr>
              <a:t>/</a:t>
            </a:r>
            <a:r>
              <a:rPr lang="zh-CN" altLang="en-US" sz="1500" b="1" dirty="0">
                <a:solidFill>
                  <a:srgbClr val="FF0000"/>
                </a:solidFill>
              </a:rPr>
              <a:t>机构？</a:t>
            </a:r>
          </a:p>
          <a:p>
            <a:pPr marL="129774" indent="-123820" defTabSz="342887">
              <a:spcAft>
                <a:spcPts val="0"/>
              </a:spcAft>
              <a:buFont typeface="Arial"/>
              <a:buChar char="•"/>
              <a:defRPr/>
            </a:pPr>
            <a:r>
              <a:rPr lang="zh-CN" altLang="en-US" sz="1500" dirty="0"/>
              <a:t> 利用数据库的分析功能获得。</a:t>
            </a:r>
          </a:p>
          <a:p>
            <a:pPr marL="129774" indent="-123820" defTabSz="342887">
              <a:spcAft>
                <a:spcPts val="0"/>
              </a:spcAft>
              <a:buFont typeface="Arial"/>
              <a:buChar char="•"/>
              <a:defRPr/>
            </a:pPr>
            <a:r>
              <a:rPr lang="zh-CN" altLang="en-US" sz="1500" dirty="0"/>
              <a:t> 通过本领作者发文量域重要国际会议中的特邀报告人信息获得。</a:t>
            </a:r>
            <a:endParaRPr lang="en-US" sz="1500" dirty="0"/>
          </a:p>
        </p:txBody>
      </p:sp>
      <p:sp>
        <p:nvSpPr>
          <p:cNvPr id="9" name="Rounded Rectangular Callout 8">
            <a:extLst>
              <a:ext uri="{FF2B5EF4-FFF2-40B4-BE49-F238E27FC236}">
                <a16:creationId xmlns:a16="http://schemas.microsoft.com/office/drawing/2014/main" id="{B1A3FE3B-15BD-404F-AF8B-C776B1658F23}"/>
              </a:ext>
            </a:extLst>
          </p:cNvPr>
          <p:cNvSpPr/>
          <p:nvPr/>
        </p:nvSpPr>
        <p:spPr bwMode="auto">
          <a:xfrm>
            <a:off x="2458161" y="1976604"/>
            <a:ext cx="1215491" cy="687507"/>
          </a:xfrm>
          <a:prstGeom prst="wedgeRoundRectCallout">
            <a:avLst>
              <a:gd name="adj1" fmla="val -109451"/>
              <a:gd name="adj2" fmla="val 47685"/>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a:solidFill>
                  <a:schemeClr val="bg1"/>
                </a:solidFill>
                <a:ea typeface="MS PGothic" panose="020B0600070205080204" pitchFamily="34" charset="-128"/>
              </a:rPr>
              <a:t>Author</a:t>
            </a:r>
          </a:p>
          <a:p>
            <a:pPr algn="ctr" eaLnBrk="1" hangingPunct="1">
              <a:spcBef>
                <a:spcPct val="50000"/>
              </a:spcBef>
              <a:defRPr/>
            </a:pPr>
            <a:r>
              <a:rPr lang="zh-CN" altLang="en-US" sz="1440">
                <a:solidFill>
                  <a:schemeClr val="bg1"/>
                </a:solidFill>
                <a:ea typeface="MS PGothic" panose="020B0600070205080204" pitchFamily="34" charset="-128"/>
              </a:rPr>
              <a:t>作者信息</a:t>
            </a:r>
            <a:endParaRPr lang="en-US" altLang="en-US" sz="1440">
              <a:solidFill>
                <a:schemeClr val="bg1"/>
              </a:solidFill>
              <a:ea typeface="MS PGothic" panose="020B0600070205080204" pitchFamily="34" charset="-128"/>
            </a:endParaRPr>
          </a:p>
        </p:txBody>
      </p:sp>
      <p:sp>
        <p:nvSpPr>
          <p:cNvPr id="10" name="Rounded Rectangular Callout 9">
            <a:extLst>
              <a:ext uri="{FF2B5EF4-FFF2-40B4-BE49-F238E27FC236}">
                <a16:creationId xmlns:a16="http://schemas.microsoft.com/office/drawing/2014/main" id="{24E255BE-3DA5-4CB5-810E-AF741466EF09}"/>
              </a:ext>
            </a:extLst>
          </p:cNvPr>
          <p:cNvSpPr/>
          <p:nvPr/>
        </p:nvSpPr>
        <p:spPr bwMode="auto">
          <a:xfrm>
            <a:off x="2786664" y="2741299"/>
            <a:ext cx="1398760" cy="694481"/>
          </a:xfrm>
          <a:prstGeom prst="wedgeRoundRectCallout">
            <a:avLst>
              <a:gd name="adj1" fmla="val -109451"/>
              <a:gd name="adj2" fmla="val 47685"/>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dirty="0">
                <a:solidFill>
                  <a:schemeClr val="bg1"/>
                </a:solidFill>
                <a:ea typeface="MS PGothic" panose="020B0600070205080204" pitchFamily="34" charset="-128"/>
              </a:rPr>
              <a:t>Author Affiliation</a:t>
            </a:r>
          </a:p>
          <a:p>
            <a:pPr algn="ctr" eaLnBrk="1" hangingPunct="1">
              <a:spcBef>
                <a:spcPct val="50000"/>
              </a:spcBef>
              <a:defRPr/>
            </a:pPr>
            <a:r>
              <a:rPr lang="zh-CN" altLang="en-US" sz="990" dirty="0">
                <a:solidFill>
                  <a:schemeClr val="bg1"/>
                </a:solidFill>
                <a:ea typeface="MS PGothic" panose="020B0600070205080204" pitchFamily="34" charset="-128"/>
              </a:rPr>
              <a:t>机构</a:t>
            </a:r>
            <a:r>
              <a:rPr lang="zh-CN" altLang="en-US" sz="1440" dirty="0">
                <a:solidFill>
                  <a:schemeClr val="bg1"/>
                </a:solidFill>
                <a:ea typeface="MS PGothic" panose="020B0600070205080204" pitchFamily="34" charset="-128"/>
              </a:rPr>
              <a:t>信息</a:t>
            </a:r>
            <a:endParaRPr lang="en-US" altLang="en-US" sz="1440" dirty="0">
              <a:solidFill>
                <a:schemeClr val="bg1"/>
              </a:solidFill>
              <a:ea typeface="MS PGothic" panose="020B0600070205080204" pitchFamily="34" charset="-128"/>
            </a:endParaRPr>
          </a:p>
        </p:txBody>
      </p:sp>
      <p:sp>
        <p:nvSpPr>
          <p:cNvPr id="12" name="TextBox 11">
            <a:extLst>
              <a:ext uri="{FF2B5EF4-FFF2-40B4-BE49-F238E27FC236}">
                <a16:creationId xmlns:a16="http://schemas.microsoft.com/office/drawing/2014/main" id="{342C45E6-BCE9-4212-B95E-0BF7A0C28AFC}"/>
              </a:ext>
            </a:extLst>
          </p:cNvPr>
          <p:cNvSpPr txBox="1"/>
          <p:nvPr/>
        </p:nvSpPr>
        <p:spPr>
          <a:xfrm>
            <a:off x="5471032" y="4589568"/>
            <a:ext cx="3461862" cy="207749"/>
          </a:xfrm>
          <a:prstGeom prst="rect">
            <a:avLst/>
          </a:prstGeom>
          <a:noFill/>
        </p:spPr>
        <p:txBody>
          <a:bodyPr>
            <a:spAutoFit/>
          </a:bodyPr>
          <a:lstStyle/>
          <a:p>
            <a:pPr defTabSz="320954">
              <a:defRPr/>
            </a:pPr>
            <a:r>
              <a:rPr lang="zh-CN" altLang="en-US" sz="750" dirty="0"/>
              <a:t>此页引自清华大学图书馆钱俊雯</a:t>
            </a:r>
            <a:r>
              <a:rPr lang="en-US" altLang="zh-CN" sz="750" dirty="0"/>
              <a:t>《</a:t>
            </a:r>
            <a:r>
              <a:rPr lang="zh-CN" altLang="en-US" sz="750" dirty="0"/>
              <a:t>开题与立项前的文献调研概述（理工类）</a:t>
            </a:r>
            <a:r>
              <a:rPr lang="en-US" altLang="zh-CN" sz="750" dirty="0"/>
              <a:t>》</a:t>
            </a:r>
            <a:endParaRPr lang="en-US" sz="750" dirty="0"/>
          </a:p>
        </p:txBody>
      </p:sp>
    </p:spTree>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A61C8-7745-4B05-98CC-36CCDB184389}"/>
              </a:ext>
            </a:extLst>
          </p:cNvPr>
          <p:cNvSpPr>
            <a:spLocks noGrp="1"/>
          </p:cNvSpPr>
          <p:nvPr>
            <p:ph type="title"/>
          </p:nvPr>
        </p:nvSpPr>
        <p:spPr>
          <a:xfrm>
            <a:off x="1375887" y="450057"/>
            <a:ext cx="6625113" cy="345758"/>
          </a:xfrm>
        </p:spPr>
        <p:txBody>
          <a:bodyPr rtlCol="0">
            <a:noAutofit/>
          </a:bodyPr>
          <a:lstStyle/>
          <a:p>
            <a:pPr defTabSz="342887">
              <a:defRPr/>
            </a:pPr>
            <a:r>
              <a:rPr lang="zh-CN" altLang="en-US" sz="1500" dirty="0"/>
              <a:t>阅读高被引次数的文献</a:t>
            </a:r>
            <a:endParaRPr lang="en-US" sz="1500" dirty="0"/>
          </a:p>
        </p:txBody>
      </p:sp>
      <p:sp>
        <p:nvSpPr>
          <p:cNvPr id="3" name="Content Placeholder 2">
            <a:extLst>
              <a:ext uri="{FF2B5EF4-FFF2-40B4-BE49-F238E27FC236}">
                <a16:creationId xmlns:a16="http://schemas.microsoft.com/office/drawing/2014/main" id="{28012B4E-F6E8-4E76-BE98-A4E2CBD32C22}"/>
              </a:ext>
            </a:extLst>
          </p:cNvPr>
          <p:cNvSpPr>
            <a:spLocks noGrp="1"/>
          </p:cNvSpPr>
          <p:nvPr>
            <p:ph idx="1"/>
          </p:nvPr>
        </p:nvSpPr>
        <p:spPr/>
        <p:txBody>
          <a:bodyPr rtlCol="0">
            <a:noAutofit/>
          </a:bodyPr>
          <a:lstStyle/>
          <a:p>
            <a:pPr marL="129774" indent="-123820" defTabSz="342887">
              <a:spcAft>
                <a:spcPts val="0"/>
              </a:spcAft>
              <a:buFont typeface="Arial"/>
              <a:buChar char="•"/>
              <a:defRPr/>
            </a:pPr>
            <a:r>
              <a:rPr lang="zh-CN" altLang="en-US" sz="1500" dirty="0"/>
              <a:t>被引次数是判断一篇论文是否有影响力（价值）的一种比较直观和比较有效的方法。</a:t>
            </a:r>
            <a:endParaRPr lang="en-US" sz="1500" dirty="0"/>
          </a:p>
        </p:txBody>
      </p:sp>
      <p:pic>
        <p:nvPicPr>
          <p:cNvPr id="22532" name="Picture 2">
            <a:extLst>
              <a:ext uri="{FF2B5EF4-FFF2-40B4-BE49-F238E27FC236}">
                <a16:creationId xmlns:a16="http://schemas.microsoft.com/office/drawing/2014/main" id="{B3DF7D13-8BEA-45FF-B9AE-03F7BF5C9D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56499" y="1357879"/>
            <a:ext cx="3660458" cy="2977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ounded Rectangular Callout 5">
            <a:extLst>
              <a:ext uri="{FF2B5EF4-FFF2-40B4-BE49-F238E27FC236}">
                <a16:creationId xmlns:a16="http://schemas.microsoft.com/office/drawing/2014/main" id="{9A7A3F5E-A5B9-420C-AAA1-55806C18500B}"/>
              </a:ext>
            </a:extLst>
          </p:cNvPr>
          <p:cNvSpPr/>
          <p:nvPr/>
        </p:nvSpPr>
        <p:spPr bwMode="auto">
          <a:xfrm>
            <a:off x="4908208" y="1988267"/>
            <a:ext cx="1589283" cy="397328"/>
          </a:xfrm>
          <a:prstGeom prst="wedgeRoundRectCallout">
            <a:avLst>
              <a:gd name="adj1" fmla="val -108766"/>
              <a:gd name="adj2" fmla="val 121658"/>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zh-CN" altLang="en-US" sz="1440">
                <a:solidFill>
                  <a:schemeClr val="bg1"/>
                </a:solidFill>
                <a:ea typeface="MS PGothic" panose="020B0600070205080204" pitchFamily="34" charset="-128"/>
              </a:rPr>
              <a:t>引文信息</a:t>
            </a:r>
            <a:endParaRPr lang="en-US" altLang="zh-CN" sz="1440">
              <a:solidFill>
                <a:schemeClr val="bg1"/>
              </a:solidFill>
              <a:ea typeface="MS PGothic" panose="020B0600070205080204" pitchFamily="34" charset="-128"/>
            </a:endParaRPr>
          </a:p>
        </p:txBody>
      </p:sp>
      <p:sp>
        <p:nvSpPr>
          <p:cNvPr id="7" name="TextBox 6">
            <a:extLst>
              <a:ext uri="{FF2B5EF4-FFF2-40B4-BE49-F238E27FC236}">
                <a16:creationId xmlns:a16="http://schemas.microsoft.com/office/drawing/2014/main" id="{26E92B84-5EC9-4733-AF09-734D1EB6DD34}"/>
              </a:ext>
            </a:extLst>
          </p:cNvPr>
          <p:cNvSpPr txBox="1"/>
          <p:nvPr/>
        </p:nvSpPr>
        <p:spPr>
          <a:xfrm>
            <a:off x="4256247" y="4776312"/>
            <a:ext cx="3461861" cy="207749"/>
          </a:xfrm>
          <a:prstGeom prst="rect">
            <a:avLst/>
          </a:prstGeom>
          <a:noFill/>
        </p:spPr>
        <p:txBody>
          <a:bodyPr>
            <a:spAutoFit/>
          </a:bodyPr>
          <a:lstStyle/>
          <a:p>
            <a:pPr defTabSz="320954">
              <a:defRPr/>
            </a:pPr>
            <a:r>
              <a:rPr lang="zh-CN" altLang="en-US" sz="750" dirty="0"/>
              <a:t>此页引自清华大学图书馆钱俊雯</a:t>
            </a:r>
            <a:r>
              <a:rPr lang="en-US" altLang="zh-CN" sz="750" dirty="0"/>
              <a:t>《</a:t>
            </a:r>
            <a:r>
              <a:rPr lang="zh-CN" altLang="en-US" sz="750" dirty="0"/>
              <a:t>开题与立项前的文献调研概述（理工类）</a:t>
            </a:r>
            <a:r>
              <a:rPr lang="en-US" altLang="zh-CN" sz="750" dirty="0"/>
              <a:t>》</a:t>
            </a:r>
            <a:endParaRPr lang="en-US" sz="750" dirty="0"/>
          </a:p>
        </p:txBody>
      </p:sp>
    </p:spTree>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85519388-B89D-4F52-979F-35EDCB1A03F0}"/>
              </a:ext>
            </a:extLst>
          </p:cNvPr>
          <p:cNvSpPr>
            <a:spLocks noGrp="1" noChangeArrowheads="1"/>
          </p:cNvSpPr>
          <p:nvPr>
            <p:ph type="title"/>
          </p:nvPr>
        </p:nvSpPr>
        <p:spPr>
          <a:xfrm>
            <a:off x="1324452" y="367189"/>
            <a:ext cx="6177915" cy="312896"/>
          </a:xfrm>
        </p:spPr>
        <p:txBody>
          <a:bodyPr/>
          <a:lstStyle/>
          <a:p>
            <a:pPr eaLnBrk="1" hangingPunct="1"/>
            <a:endParaRPr lang="en-US" altLang="en-US">
              <a:latin typeface="Arial Bold" panose="020B0704020202020204" pitchFamily="34" charset="0"/>
              <a:cs typeface="Arial Bold" panose="020B0704020202020204" pitchFamily="34" charset="0"/>
            </a:endParaRPr>
          </a:p>
        </p:txBody>
      </p:sp>
      <p:pic>
        <p:nvPicPr>
          <p:cNvPr id="27651" name="Picture 2">
            <a:extLst>
              <a:ext uri="{FF2B5EF4-FFF2-40B4-BE49-F238E27FC236}">
                <a16:creationId xmlns:a16="http://schemas.microsoft.com/office/drawing/2014/main" id="{F3B437BF-20ED-4560-A8BB-A1577D8F34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3004" y="367189"/>
            <a:ext cx="6827996" cy="4061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p:cNvSpPr/>
          <p:nvPr/>
        </p:nvSpPr>
        <p:spPr>
          <a:xfrm>
            <a:off x="1980662" y="1376325"/>
            <a:ext cx="3088458" cy="2691866"/>
          </a:xfrm>
          <a:prstGeom prst="ellipse">
            <a:avLst/>
          </a:prstGeom>
          <a:noFill/>
          <a:ln>
            <a:solidFill>
              <a:srgbClr val="0070C0"/>
            </a:solidFill>
            <a:prstDash val="dash"/>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dirty="0"/>
          </a:p>
        </p:txBody>
      </p:sp>
      <p:sp>
        <p:nvSpPr>
          <p:cNvPr id="3" name="Title 2"/>
          <p:cNvSpPr>
            <a:spLocks noGrp="1"/>
          </p:cNvSpPr>
          <p:nvPr>
            <p:ph type="title"/>
          </p:nvPr>
        </p:nvSpPr>
        <p:spPr>
          <a:xfrm>
            <a:off x="1323976" y="497271"/>
            <a:ext cx="6178739" cy="313984"/>
          </a:xfrm>
        </p:spPr>
        <p:txBody>
          <a:bodyPr/>
          <a:lstStyle/>
          <a:p>
            <a:r>
              <a:rPr lang="en-US" dirty="0" err="1">
                <a:solidFill>
                  <a:srgbClr val="53565A"/>
                </a:solidFill>
              </a:rPr>
              <a:t>Ei</a:t>
            </a:r>
            <a:r>
              <a:rPr lang="zh-CN" altLang="en-US" dirty="0">
                <a:solidFill>
                  <a:srgbClr val="53565A"/>
                </a:solidFill>
                <a:latin typeface="黑体" panose="02010609060101010101" pitchFamily="49" charset="-122"/>
                <a:ea typeface="黑体" panose="02010609060101010101" pitchFamily="49" charset="-122"/>
              </a:rPr>
              <a:t>工程索引叙词表</a:t>
            </a:r>
            <a:endParaRPr lang="en-US" dirty="0">
              <a:solidFill>
                <a:srgbClr val="53565A"/>
              </a:solidFill>
              <a:latin typeface="黑体" panose="02010609060101010101" pitchFamily="49" charset="-122"/>
              <a:ea typeface="黑体" panose="02010609060101010101" pitchFamily="49" charset="-122"/>
            </a:endParaRPr>
          </a:p>
        </p:txBody>
      </p:sp>
      <p:sp>
        <p:nvSpPr>
          <p:cNvPr id="5" name="Rectangle 4"/>
          <p:cNvSpPr/>
          <p:nvPr/>
        </p:nvSpPr>
        <p:spPr>
          <a:xfrm>
            <a:off x="1281442" y="943372"/>
            <a:ext cx="2829581" cy="323165"/>
          </a:xfrm>
          <a:prstGeom prst="rect">
            <a:avLst/>
          </a:prstGeom>
        </p:spPr>
        <p:txBody>
          <a:bodyPr wrap="square">
            <a:spAutoFit/>
          </a:bodyPr>
          <a:lstStyle/>
          <a:p>
            <a:pPr marL="65151"/>
            <a:r>
              <a:rPr lang="zh-CN" altLang="en-US" sz="1500" dirty="0">
                <a:latin typeface="Calibri" panose="020F0502020204030204" pitchFamily="34" charset="0"/>
                <a:ea typeface="黑体" panose="02010609060101010101" pitchFamily="49" charset="-122"/>
                <a:cs typeface="Calibri" panose="020F0502020204030204" pitchFamily="34" charset="0"/>
              </a:rPr>
              <a:t>源自</a:t>
            </a:r>
            <a:r>
              <a:rPr lang="en-US" altLang="zh-CN" sz="1350" dirty="0">
                <a:latin typeface="Calibri" panose="020F0502020204030204" pitchFamily="34" charset="0"/>
                <a:ea typeface="黑体" panose="02010609060101010101" pitchFamily="49" charset="-122"/>
                <a:cs typeface="Calibri" panose="020F0502020204030204" pitchFamily="34" charset="0"/>
              </a:rPr>
              <a:t>1884</a:t>
            </a:r>
            <a:r>
              <a:rPr lang="zh-CN" altLang="en-US" sz="1500" dirty="0">
                <a:latin typeface="黑体" panose="02010609060101010101" pitchFamily="49" charset="-122"/>
                <a:ea typeface="黑体" panose="02010609060101010101" pitchFamily="49" charset="-122"/>
              </a:rPr>
              <a:t>年，目前仍在发展中</a:t>
            </a:r>
            <a:endParaRPr lang="en-US" sz="1500" dirty="0">
              <a:latin typeface="黑体" panose="02010609060101010101" pitchFamily="49" charset="-122"/>
              <a:ea typeface="黑体" panose="02010609060101010101" pitchFamily="49" charset="-122"/>
            </a:endParaRPr>
          </a:p>
        </p:txBody>
      </p:sp>
      <p:grpSp>
        <p:nvGrpSpPr>
          <p:cNvPr id="12" name="Group 11"/>
          <p:cNvGrpSpPr/>
          <p:nvPr/>
        </p:nvGrpSpPr>
        <p:grpSpPr>
          <a:xfrm>
            <a:off x="1428441" y="2813243"/>
            <a:ext cx="1185332" cy="734927"/>
            <a:chOff x="2582535" y="5367900"/>
            <a:chExt cx="1580442" cy="979903"/>
          </a:xfrm>
        </p:grpSpPr>
        <p:sp>
          <p:nvSpPr>
            <p:cNvPr id="2" name="Rectangle: Rounded Corners 1"/>
            <p:cNvSpPr/>
            <p:nvPr/>
          </p:nvSpPr>
          <p:spPr>
            <a:xfrm>
              <a:off x="2582535" y="5367900"/>
              <a:ext cx="1580442" cy="979903"/>
            </a:xfrm>
            <a:prstGeom prst="round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grpSp>
          <p:nvGrpSpPr>
            <p:cNvPr id="9" name="Grupp 8"/>
            <p:cNvGrpSpPr/>
            <p:nvPr/>
          </p:nvGrpSpPr>
          <p:grpSpPr>
            <a:xfrm>
              <a:off x="2694931" y="5400894"/>
              <a:ext cx="1340536" cy="876316"/>
              <a:chOff x="2198660" y="3899477"/>
              <a:chExt cx="1340536" cy="876316"/>
            </a:xfrm>
          </p:grpSpPr>
          <p:cxnSp>
            <p:nvCxnSpPr>
              <p:cNvPr id="69" name="Straight Connector 68"/>
              <p:cNvCxnSpPr/>
              <p:nvPr/>
            </p:nvCxnSpPr>
            <p:spPr>
              <a:xfrm>
                <a:off x="2403928" y="4416283"/>
                <a:ext cx="923819"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3" name="Rectangle 66"/>
              <p:cNvSpPr/>
              <p:nvPr/>
            </p:nvSpPr>
            <p:spPr>
              <a:xfrm>
                <a:off x="2198660" y="3899477"/>
                <a:ext cx="1340536" cy="553997"/>
              </a:xfrm>
              <a:prstGeom prst="rect">
                <a:avLst/>
              </a:prstGeom>
            </p:spPr>
            <p:txBody>
              <a:bodyPr wrap="none">
                <a:spAutoFit/>
              </a:bodyPr>
              <a:lstStyle/>
              <a:p>
                <a:pPr algn="ctr" defTabSz="342900"/>
                <a:r>
                  <a:rPr lang="en-US" sz="2100" b="1" dirty="0">
                    <a:solidFill>
                      <a:srgbClr val="FF8200"/>
                    </a:solidFill>
                  </a:rPr>
                  <a:t>13,026</a:t>
                </a:r>
              </a:p>
            </p:txBody>
          </p:sp>
          <p:sp>
            <p:nvSpPr>
              <p:cNvPr id="72" name="Rectangle 67"/>
              <p:cNvSpPr/>
              <p:nvPr/>
            </p:nvSpPr>
            <p:spPr>
              <a:xfrm>
                <a:off x="2290967" y="4437238"/>
                <a:ext cx="1143904" cy="338555"/>
              </a:xfrm>
              <a:prstGeom prst="rect">
                <a:avLst/>
              </a:prstGeom>
            </p:spPr>
            <p:txBody>
              <a:bodyPr wrap="none">
                <a:spAutoFit/>
              </a:bodyPr>
              <a:lstStyle/>
              <a:p>
                <a:pPr algn="ctr" defTabSz="342900"/>
                <a:r>
                  <a:rPr lang="zh-CN" altLang="en-US" sz="1050" b="1" dirty="0">
                    <a:solidFill>
                      <a:srgbClr val="53565A"/>
                    </a:solidFill>
                    <a:latin typeface="黑体" panose="02010609060101010101" pitchFamily="49" charset="-122"/>
                    <a:ea typeface="黑体" panose="02010609060101010101" pitchFamily="49" charset="-122"/>
                  </a:rPr>
                  <a:t>上位词关系</a:t>
                </a:r>
                <a:endParaRPr lang="en-US" sz="1050" b="1" dirty="0">
                  <a:solidFill>
                    <a:srgbClr val="53565A"/>
                  </a:solidFill>
                  <a:latin typeface="黑体" panose="02010609060101010101" pitchFamily="49" charset="-122"/>
                  <a:ea typeface="黑体" panose="02010609060101010101" pitchFamily="49" charset="-122"/>
                </a:endParaRPr>
              </a:p>
            </p:txBody>
          </p:sp>
        </p:grpSp>
      </p:grpSp>
      <p:grpSp>
        <p:nvGrpSpPr>
          <p:cNvPr id="33" name="Group 32"/>
          <p:cNvGrpSpPr/>
          <p:nvPr/>
        </p:nvGrpSpPr>
        <p:grpSpPr>
          <a:xfrm>
            <a:off x="3050538" y="2420828"/>
            <a:ext cx="1005403" cy="665305"/>
            <a:chOff x="3706135" y="2470602"/>
            <a:chExt cx="1340537" cy="887072"/>
          </a:xfrm>
        </p:grpSpPr>
        <p:sp>
          <p:nvSpPr>
            <p:cNvPr id="34" name="Rectangle 33"/>
            <p:cNvSpPr/>
            <p:nvPr/>
          </p:nvSpPr>
          <p:spPr>
            <a:xfrm>
              <a:off x="3706135" y="2470602"/>
              <a:ext cx="1340537" cy="553997"/>
            </a:xfrm>
            <a:prstGeom prst="rect">
              <a:avLst/>
            </a:prstGeom>
          </p:spPr>
          <p:txBody>
            <a:bodyPr wrap="none">
              <a:spAutoFit/>
            </a:bodyPr>
            <a:lstStyle/>
            <a:p>
              <a:pPr algn="ctr" defTabSz="342900"/>
              <a:r>
                <a:rPr lang="en-US" sz="2100" b="1" dirty="0">
                  <a:solidFill>
                    <a:srgbClr val="007398"/>
                  </a:solidFill>
                </a:rPr>
                <a:t>21,829</a:t>
              </a:r>
            </a:p>
          </p:txBody>
        </p:sp>
        <p:sp>
          <p:nvSpPr>
            <p:cNvPr id="35" name="Rectangle 34"/>
            <p:cNvSpPr/>
            <p:nvPr/>
          </p:nvSpPr>
          <p:spPr>
            <a:xfrm>
              <a:off x="3885662" y="3019120"/>
              <a:ext cx="964368" cy="338554"/>
            </a:xfrm>
            <a:prstGeom prst="rect">
              <a:avLst/>
            </a:prstGeom>
          </p:spPr>
          <p:txBody>
            <a:bodyPr wrap="none">
              <a:spAutoFit/>
            </a:bodyPr>
            <a:lstStyle/>
            <a:p>
              <a:pPr algn="ctr" defTabSz="342900"/>
              <a:r>
                <a:rPr lang="zh-CN" altLang="en-US" sz="1050" b="1" dirty="0">
                  <a:solidFill>
                    <a:schemeClr val="accent1"/>
                  </a:solidFill>
                  <a:latin typeface="黑体" panose="02010609060101010101" pitchFamily="49" charset="-122"/>
                  <a:ea typeface="黑体" panose="02010609060101010101" pitchFamily="49" charset="-122"/>
                </a:rPr>
                <a:t>词汇总数</a:t>
              </a:r>
              <a:endParaRPr lang="en-US" sz="1050" b="1" dirty="0">
                <a:solidFill>
                  <a:schemeClr val="accent1"/>
                </a:solidFill>
                <a:latin typeface="黑体" panose="02010609060101010101" pitchFamily="49" charset="-122"/>
                <a:ea typeface="黑体" panose="02010609060101010101" pitchFamily="49" charset="-122"/>
              </a:endParaRPr>
            </a:p>
          </p:txBody>
        </p:sp>
        <p:cxnSp>
          <p:nvCxnSpPr>
            <p:cNvPr id="40" name="Straight Connector 39"/>
            <p:cNvCxnSpPr/>
            <p:nvPr/>
          </p:nvCxnSpPr>
          <p:spPr>
            <a:xfrm>
              <a:off x="3727402" y="2998165"/>
              <a:ext cx="1295400" cy="0"/>
            </a:xfrm>
            <a:prstGeom prst="line">
              <a:avLst/>
            </a:prstGeom>
            <a:ln w="12700">
              <a:solidFill>
                <a:srgbClr val="007398"/>
              </a:solidFill>
            </a:ln>
            <a:effectLst/>
          </p:spPr>
          <p:style>
            <a:lnRef idx="2">
              <a:schemeClr val="accent1"/>
            </a:lnRef>
            <a:fillRef idx="0">
              <a:schemeClr val="accent1"/>
            </a:fillRef>
            <a:effectRef idx="1">
              <a:schemeClr val="accent1"/>
            </a:effectRef>
            <a:fontRef idx="minor">
              <a:schemeClr val="tx1"/>
            </a:fontRef>
          </p:style>
        </p:cxnSp>
      </p:grpSp>
      <p:grpSp>
        <p:nvGrpSpPr>
          <p:cNvPr id="7" name="Group 6"/>
          <p:cNvGrpSpPr/>
          <p:nvPr/>
        </p:nvGrpSpPr>
        <p:grpSpPr>
          <a:xfrm>
            <a:off x="3854211" y="1250765"/>
            <a:ext cx="1088572" cy="1088572"/>
            <a:chOff x="5957759" y="3058724"/>
            <a:chExt cx="1451429" cy="1451429"/>
          </a:xfrm>
        </p:grpSpPr>
        <p:sp>
          <p:nvSpPr>
            <p:cNvPr id="31" name="Oval 30"/>
            <p:cNvSpPr/>
            <p:nvPr/>
          </p:nvSpPr>
          <p:spPr>
            <a:xfrm>
              <a:off x="5957759" y="3058724"/>
              <a:ext cx="1451429" cy="1451429"/>
            </a:xfrm>
            <a:prstGeom prst="ellipse">
              <a:avLst/>
            </a:prstGeom>
            <a:solidFill>
              <a:schemeClr val="bg1"/>
            </a:solidFill>
            <a:ln>
              <a:solidFill>
                <a:schemeClr val="tx1">
                  <a:lumMod val="20000"/>
                  <a:lumOff val="80000"/>
                </a:schemeClr>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grpSp>
          <p:nvGrpSpPr>
            <p:cNvPr id="10" name="Grupp 9"/>
            <p:cNvGrpSpPr/>
            <p:nvPr/>
          </p:nvGrpSpPr>
          <p:grpSpPr>
            <a:xfrm>
              <a:off x="6127822" y="3407682"/>
              <a:ext cx="1141766" cy="876316"/>
              <a:chOff x="4966490" y="2203610"/>
              <a:chExt cx="1141766" cy="876316"/>
            </a:xfrm>
          </p:grpSpPr>
          <p:cxnSp>
            <p:nvCxnSpPr>
              <p:cNvPr id="38" name="Straight Connector 37"/>
              <p:cNvCxnSpPr/>
              <p:nvPr/>
            </p:nvCxnSpPr>
            <p:spPr>
              <a:xfrm>
                <a:off x="5160347" y="2723809"/>
                <a:ext cx="910429"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7" name="Rectangle 69"/>
              <p:cNvSpPr/>
              <p:nvPr/>
            </p:nvSpPr>
            <p:spPr>
              <a:xfrm>
                <a:off x="4966490" y="2203610"/>
                <a:ext cx="1141766" cy="553997"/>
              </a:xfrm>
              <a:prstGeom prst="rect">
                <a:avLst/>
              </a:prstGeom>
            </p:spPr>
            <p:txBody>
              <a:bodyPr wrap="none">
                <a:spAutoFit/>
              </a:bodyPr>
              <a:lstStyle/>
              <a:p>
                <a:pPr algn="ctr" defTabSz="342900"/>
                <a:r>
                  <a:rPr lang="en-US" sz="2100" b="1" dirty="0">
                    <a:solidFill>
                      <a:srgbClr val="007398"/>
                    </a:solidFill>
                  </a:rPr>
                  <a:t>9,854</a:t>
                </a:r>
              </a:p>
            </p:txBody>
          </p:sp>
          <p:sp>
            <p:nvSpPr>
              <p:cNvPr id="50" name="Rectangle 70"/>
              <p:cNvSpPr/>
              <p:nvPr/>
            </p:nvSpPr>
            <p:spPr>
              <a:xfrm>
                <a:off x="5055191" y="2741371"/>
                <a:ext cx="964367" cy="338555"/>
              </a:xfrm>
              <a:prstGeom prst="rect">
                <a:avLst/>
              </a:prstGeom>
            </p:spPr>
            <p:txBody>
              <a:bodyPr wrap="none">
                <a:spAutoFit/>
              </a:bodyPr>
              <a:lstStyle/>
              <a:p>
                <a:pPr algn="ctr" defTabSz="342900"/>
                <a:r>
                  <a:rPr lang="zh-CN" altLang="en-US" sz="1050" b="1" dirty="0">
                    <a:solidFill>
                      <a:srgbClr val="53565A"/>
                    </a:solidFill>
                    <a:latin typeface="黑体" panose="02010609060101010101" pitchFamily="49" charset="-122"/>
                    <a:ea typeface="黑体" panose="02010609060101010101" pitchFamily="49" charset="-122"/>
                  </a:rPr>
                  <a:t>非首选词</a:t>
                </a:r>
                <a:endParaRPr lang="en-US" sz="1050" b="1" dirty="0">
                  <a:solidFill>
                    <a:srgbClr val="53565A"/>
                  </a:solidFill>
                  <a:latin typeface="黑体" panose="02010609060101010101" pitchFamily="49" charset="-122"/>
                  <a:ea typeface="黑体" panose="02010609060101010101" pitchFamily="49" charset="-122"/>
                </a:endParaRPr>
              </a:p>
            </p:txBody>
          </p:sp>
        </p:grpSp>
      </p:grpSp>
      <p:grpSp>
        <p:nvGrpSpPr>
          <p:cNvPr id="8" name="Group 7"/>
          <p:cNvGrpSpPr/>
          <p:nvPr/>
        </p:nvGrpSpPr>
        <p:grpSpPr>
          <a:xfrm>
            <a:off x="2129694" y="1258338"/>
            <a:ext cx="1088572" cy="1088572"/>
            <a:chOff x="1795461" y="3062557"/>
            <a:chExt cx="1451429" cy="1451429"/>
          </a:xfrm>
        </p:grpSpPr>
        <p:sp>
          <p:nvSpPr>
            <p:cNvPr id="29" name="Oval 28"/>
            <p:cNvSpPr/>
            <p:nvPr/>
          </p:nvSpPr>
          <p:spPr>
            <a:xfrm>
              <a:off x="1795461" y="3062557"/>
              <a:ext cx="1451429" cy="1451429"/>
            </a:xfrm>
            <a:prstGeom prst="ellipse">
              <a:avLst/>
            </a:prstGeom>
            <a:solidFill>
              <a:schemeClr val="bg1"/>
            </a:solidFill>
            <a:ln>
              <a:solidFill>
                <a:schemeClr val="tx1">
                  <a:lumMod val="20000"/>
                  <a:lumOff val="80000"/>
                </a:schemeClr>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grpSp>
          <p:nvGrpSpPr>
            <p:cNvPr id="36" name="Grupp 9"/>
            <p:cNvGrpSpPr/>
            <p:nvPr/>
          </p:nvGrpSpPr>
          <p:grpSpPr>
            <a:xfrm>
              <a:off x="1877628" y="3356403"/>
              <a:ext cx="1300871" cy="876316"/>
              <a:chOff x="3068037" y="2200589"/>
              <a:chExt cx="1300871" cy="876316"/>
            </a:xfrm>
          </p:grpSpPr>
          <p:cxnSp>
            <p:nvCxnSpPr>
              <p:cNvPr id="41" name="Straight Connector 40"/>
              <p:cNvCxnSpPr/>
              <p:nvPr/>
            </p:nvCxnSpPr>
            <p:spPr>
              <a:xfrm>
                <a:off x="3205854" y="2738350"/>
                <a:ext cx="910429"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4" name="Rectangle 60"/>
              <p:cNvSpPr/>
              <p:nvPr/>
            </p:nvSpPr>
            <p:spPr>
              <a:xfrm>
                <a:off x="3068037" y="2200589"/>
                <a:ext cx="1300871" cy="553997"/>
              </a:xfrm>
              <a:prstGeom prst="rect">
                <a:avLst/>
              </a:prstGeom>
            </p:spPr>
            <p:txBody>
              <a:bodyPr wrap="none">
                <a:spAutoFit/>
              </a:bodyPr>
              <a:lstStyle/>
              <a:p>
                <a:pPr algn="ctr" defTabSz="342900"/>
                <a:r>
                  <a:rPr lang="en-US" sz="2100" b="1" dirty="0">
                    <a:solidFill>
                      <a:srgbClr val="007398"/>
                    </a:solidFill>
                  </a:rPr>
                  <a:t>11,116</a:t>
                </a:r>
                <a:endParaRPr lang="en-US" sz="1350" b="1" dirty="0">
                  <a:solidFill>
                    <a:srgbClr val="007398"/>
                  </a:solidFill>
                </a:endParaRPr>
              </a:p>
            </p:txBody>
          </p:sp>
          <p:sp>
            <p:nvSpPr>
              <p:cNvPr id="48" name="Rectangle 61"/>
              <p:cNvSpPr/>
              <p:nvPr/>
            </p:nvSpPr>
            <p:spPr>
              <a:xfrm>
                <a:off x="3326062" y="2738350"/>
                <a:ext cx="784832" cy="338555"/>
              </a:xfrm>
              <a:prstGeom prst="rect">
                <a:avLst/>
              </a:prstGeom>
            </p:spPr>
            <p:txBody>
              <a:bodyPr wrap="none">
                <a:spAutoFit/>
              </a:bodyPr>
              <a:lstStyle/>
              <a:p>
                <a:pPr algn="ctr" defTabSz="342900"/>
                <a:r>
                  <a:rPr lang="zh-CN" altLang="en-US" sz="1050" b="1" dirty="0">
                    <a:solidFill>
                      <a:srgbClr val="53565A"/>
                    </a:solidFill>
                    <a:latin typeface="黑体" panose="02010609060101010101" pitchFamily="49" charset="-122"/>
                    <a:ea typeface="黑体" panose="02010609060101010101" pitchFamily="49" charset="-122"/>
                  </a:rPr>
                  <a:t>首选词</a:t>
                </a:r>
                <a:endParaRPr lang="en-US" sz="1050" b="1" dirty="0">
                  <a:solidFill>
                    <a:srgbClr val="53565A"/>
                  </a:solidFill>
                  <a:latin typeface="黑体" panose="02010609060101010101" pitchFamily="49" charset="-122"/>
                  <a:ea typeface="黑体" panose="02010609060101010101" pitchFamily="49" charset="-122"/>
                </a:endParaRPr>
              </a:p>
            </p:txBody>
          </p:sp>
        </p:grpSp>
      </p:grpSp>
      <p:grpSp>
        <p:nvGrpSpPr>
          <p:cNvPr id="11" name="Group 10"/>
          <p:cNvGrpSpPr/>
          <p:nvPr/>
        </p:nvGrpSpPr>
        <p:grpSpPr>
          <a:xfrm>
            <a:off x="2954805" y="3654448"/>
            <a:ext cx="1185332" cy="734927"/>
            <a:chOff x="3745448" y="1877650"/>
            <a:chExt cx="1580442" cy="979903"/>
          </a:xfrm>
        </p:grpSpPr>
        <p:sp>
          <p:nvSpPr>
            <p:cNvPr id="84" name="Rectangle: Rounded Corners 83"/>
            <p:cNvSpPr/>
            <p:nvPr/>
          </p:nvSpPr>
          <p:spPr>
            <a:xfrm>
              <a:off x="3745448" y="1877650"/>
              <a:ext cx="1580442" cy="979903"/>
            </a:xfrm>
            <a:prstGeom prst="round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grpSp>
          <p:nvGrpSpPr>
            <p:cNvPr id="55" name="Grupp 8"/>
            <p:cNvGrpSpPr/>
            <p:nvPr/>
          </p:nvGrpSpPr>
          <p:grpSpPr>
            <a:xfrm>
              <a:off x="3759292" y="1976207"/>
              <a:ext cx="1552755" cy="876316"/>
              <a:chOff x="5767236" y="3877248"/>
              <a:chExt cx="1552755" cy="876316"/>
            </a:xfrm>
          </p:grpSpPr>
          <p:cxnSp>
            <p:nvCxnSpPr>
              <p:cNvPr id="57" name="Straight Connector 56"/>
              <p:cNvCxnSpPr/>
              <p:nvPr/>
            </p:nvCxnSpPr>
            <p:spPr>
              <a:xfrm>
                <a:off x="6088400" y="4400468"/>
                <a:ext cx="910429"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8" name="Rectangle 57"/>
              <p:cNvSpPr/>
              <p:nvPr/>
            </p:nvSpPr>
            <p:spPr>
              <a:xfrm>
                <a:off x="6115049" y="3877248"/>
                <a:ext cx="842538" cy="553997"/>
              </a:xfrm>
              <a:prstGeom prst="rect">
                <a:avLst/>
              </a:prstGeom>
            </p:spPr>
            <p:txBody>
              <a:bodyPr wrap="none">
                <a:spAutoFit/>
              </a:bodyPr>
              <a:lstStyle/>
              <a:p>
                <a:pPr algn="ctr" defTabSz="342900"/>
                <a:r>
                  <a:rPr lang="en-US" sz="2100" b="1" dirty="0">
                    <a:solidFill>
                      <a:srgbClr val="FF8200"/>
                    </a:solidFill>
                  </a:rPr>
                  <a:t>859</a:t>
                </a:r>
              </a:p>
            </p:txBody>
          </p:sp>
          <p:sp>
            <p:nvSpPr>
              <p:cNvPr id="59" name="Rectangle 58"/>
              <p:cNvSpPr/>
              <p:nvPr/>
            </p:nvSpPr>
            <p:spPr>
              <a:xfrm>
                <a:off x="5767236" y="4415009"/>
                <a:ext cx="1552755" cy="338555"/>
              </a:xfrm>
              <a:prstGeom prst="rect">
                <a:avLst/>
              </a:prstGeom>
            </p:spPr>
            <p:txBody>
              <a:bodyPr wrap="square">
                <a:spAutoFit/>
              </a:bodyPr>
              <a:lstStyle/>
              <a:p>
                <a:pPr algn="ctr" defTabSz="342900"/>
                <a:r>
                  <a:rPr lang="zh-CN" altLang="en-US" sz="1050" b="1" dirty="0">
                    <a:solidFill>
                      <a:srgbClr val="53565A"/>
                    </a:solidFill>
                    <a:latin typeface="黑体" panose="02010609060101010101" pitchFamily="49" charset="-122"/>
                    <a:ea typeface="黑体" panose="02010609060101010101" pitchFamily="49" charset="-122"/>
                  </a:rPr>
                  <a:t>分类码</a:t>
                </a:r>
                <a:endParaRPr lang="en-US" sz="1050" b="1" dirty="0">
                  <a:solidFill>
                    <a:srgbClr val="53565A"/>
                  </a:solidFill>
                  <a:latin typeface="黑体" panose="02010609060101010101" pitchFamily="49" charset="-122"/>
                  <a:ea typeface="黑体" panose="02010609060101010101" pitchFamily="49" charset="-122"/>
                </a:endParaRPr>
              </a:p>
            </p:txBody>
          </p:sp>
        </p:grpSp>
      </p:grpSp>
      <p:grpSp>
        <p:nvGrpSpPr>
          <p:cNvPr id="13" name="Group 12"/>
          <p:cNvGrpSpPr/>
          <p:nvPr/>
        </p:nvGrpSpPr>
        <p:grpSpPr>
          <a:xfrm>
            <a:off x="4610720" y="2813242"/>
            <a:ext cx="1185332" cy="734927"/>
            <a:chOff x="5120037" y="5373726"/>
            <a:chExt cx="1580442" cy="979903"/>
          </a:xfrm>
        </p:grpSpPr>
        <p:sp>
          <p:nvSpPr>
            <p:cNvPr id="83" name="Rectangle: Rounded Corners 82"/>
            <p:cNvSpPr/>
            <p:nvPr/>
          </p:nvSpPr>
          <p:spPr>
            <a:xfrm>
              <a:off x="5120037" y="5373726"/>
              <a:ext cx="1580442" cy="979903"/>
            </a:xfrm>
            <a:prstGeom prst="round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grpSp>
          <p:nvGrpSpPr>
            <p:cNvPr id="71" name="Grupp 8"/>
            <p:cNvGrpSpPr/>
            <p:nvPr/>
          </p:nvGrpSpPr>
          <p:grpSpPr>
            <a:xfrm>
              <a:off x="5243241" y="5406720"/>
              <a:ext cx="1340536" cy="876316"/>
              <a:chOff x="4015891" y="3899477"/>
              <a:chExt cx="1340536" cy="876316"/>
            </a:xfrm>
          </p:grpSpPr>
          <p:cxnSp>
            <p:nvCxnSpPr>
              <p:cNvPr id="82" name="Straight Connector 81"/>
              <p:cNvCxnSpPr/>
              <p:nvPr/>
            </p:nvCxnSpPr>
            <p:spPr>
              <a:xfrm>
                <a:off x="4230033" y="4416283"/>
                <a:ext cx="910429"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77" name="Rectangle 63"/>
              <p:cNvSpPr/>
              <p:nvPr/>
            </p:nvSpPr>
            <p:spPr>
              <a:xfrm>
                <a:off x="4015891" y="3899477"/>
                <a:ext cx="1340536" cy="553997"/>
              </a:xfrm>
              <a:prstGeom prst="rect">
                <a:avLst/>
              </a:prstGeom>
            </p:spPr>
            <p:txBody>
              <a:bodyPr wrap="none">
                <a:spAutoFit/>
              </a:bodyPr>
              <a:lstStyle/>
              <a:p>
                <a:pPr algn="ctr" defTabSz="342900"/>
                <a:r>
                  <a:rPr lang="en-US" sz="2100" b="1" dirty="0">
                    <a:solidFill>
                      <a:srgbClr val="FF8200"/>
                    </a:solidFill>
                  </a:rPr>
                  <a:t>17,450</a:t>
                </a:r>
              </a:p>
            </p:txBody>
          </p:sp>
          <p:sp>
            <p:nvSpPr>
              <p:cNvPr id="78" name="Rectangle 64"/>
              <p:cNvSpPr/>
              <p:nvPr/>
            </p:nvSpPr>
            <p:spPr>
              <a:xfrm>
                <a:off x="4108191" y="4437238"/>
                <a:ext cx="1143904" cy="338555"/>
              </a:xfrm>
              <a:prstGeom prst="rect">
                <a:avLst/>
              </a:prstGeom>
            </p:spPr>
            <p:txBody>
              <a:bodyPr wrap="none">
                <a:spAutoFit/>
              </a:bodyPr>
              <a:lstStyle/>
              <a:p>
                <a:pPr algn="ctr" defTabSz="342900"/>
                <a:r>
                  <a:rPr lang="zh-CN" altLang="en-US" sz="1050" b="1" dirty="0">
                    <a:solidFill>
                      <a:srgbClr val="53565A"/>
                    </a:solidFill>
                    <a:latin typeface="黑体" panose="02010609060101010101" pitchFamily="49" charset="-122"/>
                    <a:ea typeface="黑体" panose="02010609060101010101" pitchFamily="49" charset="-122"/>
                  </a:rPr>
                  <a:t>相关词关系</a:t>
                </a:r>
                <a:endParaRPr lang="en-US" sz="1050" b="1" dirty="0">
                  <a:solidFill>
                    <a:srgbClr val="53565A"/>
                  </a:solidFill>
                  <a:latin typeface="黑体" panose="02010609060101010101" pitchFamily="49" charset="-122"/>
                  <a:ea typeface="黑体" panose="02010609060101010101" pitchFamily="49" charset="-122"/>
                </a:endParaRPr>
              </a:p>
            </p:txBody>
          </p:sp>
        </p:grpSp>
      </p:grpSp>
      <p:graphicFrame>
        <p:nvGraphicFramePr>
          <p:cNvPr id="6" name="Diagram 5"/>
          <p:cNvGraphicFramePr/>
          <p:nvPr/>
        </p:nvGraphicFramePr>
        <p:xfrm>
          <a:off x="5615746" y="1461365"/>
          <a:ext cx="2725127" cy="12123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4658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heel(1)">
                                      <p:cBhvr>
                                        <p:cTn id="12" dur="1500"/>
                                        <p:tgtEl>
                                          <p:spTgt spid="30"/>
                                        </p:tgtEl>
                                      </p:cBhvr>
                                    </p:animEffect>
                                  </p:childTnLst>
                                </p:cTn>
                              </p:par>
                              <p:par>
                                <p:cTn id="13" presetID="22" presetClass="entr" presetSubtype="4" fill="hold" nodeType="withEffect">
                                  <p:stCondLst>
                                    <p:cond delay="15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par>
                                <p:cTn id="16" presetID="10" presetClass="entr" presetSubtype="0" fill="hold" nodeType="withEffect">
                                  <p:stCondLst>
                                    <p:cond delay="30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nodeType="withEffect">
                                  <p:stCondLst>
                                    <p:cond delay="50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nodeType="withEffect">
                                  <p:stCondLst>
                                    <p:cond delay="70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22" presetClass="entr" presetSubtype="4" fill="hold" nodeType="withEffect">
                                  <p:stCondLst>
                                    <p:cond delay="900"/>
                                  </p:stCondLst>
                                  <p:childTnLst>
                                    <p:set>
                                      <p:cBhvr>
                                        <p:cTn id="26" dur="1" fill="hold">
                                          <p:stCondLst>
                                            <p:cond delay="0"/>
                                          </p:stCondLst>
                                        </p:cTn>
                                        <p:tgtEl>
                                          <p:spTgt spid="8"/>
                                        </p:tgtEl>
                                        <p:attrNameLst>
                                          <p:attrName>style.visibility</p:attrName>
                                        </p:attrNameLst>
                                      </p:cBhvr>
                                      <p:to>
                                        <p:strVal val="visible"/>
                                      </p:to>
                                    </p:set>
                                    <p:animEffect transition="in" filter="wipe(down)">
                                      <p:cBhvr>
                                        <p:cTn id="27" dur="500"/>
                                        <p:tgtEl>
                                          <p:spTgt spid="8"/>
                                        </p:tgtEl>
                                      </p:cBhvr>
                                    </p:animEffect>
                                  </p:childTnLst>
                                </p:cTn>
                              </p:par>
                            </p:childTnLst>
                          </p:cTn>
                        </p:par>
                        <p:par>
                          <p:cTn id="28" fill="hold">
                            <p:stCondLst>
                              <p:cond delay="1500"/>
                            </p:stCondLst>
                            <p:childTnLst>
                              <p:par>
                                <p:cTn id="29" presetID="21" presetClass="entr" presetSubtype="1" fill="hold"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wheel(1)">
                                      <p:cBhvr>
                                        <p:cTn id="31" dur="25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Graphic spid="6"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57751" y="57428"/>
            <a:ext cx="6858000" cy="461665"/>
          </a:xfrm>
          <a:prstGeom prst="rect">
            <a:avLst/>
          </a:prstGeom>
        </p:spPr>
        <p:txBody>
          <a:bodyPr wrap="square">
            <a:spAutoFit/>
          </a:bodyPr>
          <a:lstStyle/>
          <a:p>
            <a:r>
              <a:rPr lang="zh-CN" altLang="en-US" sz="2400" b="1" dirty="0">
                <a:solidFill>
                  <a:srgbClr val="53565A"/>
                </a:solidFill>
                <a:latin typeface="黑体" panose="02010609060101010101" pitchFamily="49" charset="-122"/>
                <a:ea typeface="黑体" panose="02010609060101010101" pitchFamily="49" charset="-122"/>
              </a:rPr>
              <a:t>索引实现精确搜索和检索</a:t>
            </a:r>
            <a:endParaRPr lang="en-US" sz="2400" b="1" dirty="0">
              <a:solidFill>
                <a:srgbClr val="53565A"/>
              </a:solidFill>
              <a:latin typeface="黑体" panose="02010609060101010101" pitchFamily="49" charset="-122"/>
              <a:ea typeface="黑体" panose="02010609060101010101" pitchFamily="49" charset="-122"/>
            </a:endParaRPr>
          </a:p>
        </p:txBody>
      </p:sp>
      <p:pic>
        <p:nvPicPr>
          <p:cNvPr id="5" name="Picture Placeholder 4"/>
          <p:cNvPicPr>
            <a:picLocks noGrp="1" noChangeAspect="1"/>
          </p:cNvPicPr>
          <p:nvPr>
            <p:ph type="pic" idx="1"/>
          </p:nvPr>
        </p:nvPicPr>
        <p:blipFill>
          <a:blip r:embed="rId3" cstate="print">
            <a:extLst>
              <a:ext uri="{28A0092B-C50C-407E-A947-70E740481C1C}">
                <a14:useLocalDpi xmlns:a14="http://schemas.microsoft.com/office/drawing/2010/main" val="0"/>
              </a:ext>
            </a:extLst>
          </a:blip>
          <a:srcRect t="6103" b="6103"/>
          <a:stretch>
            <a:fillRect/>
          </a:stretch>
        </p:blipFill>
        <p:spPr>
          <a:xfrm>
            <a:off x="1529123" y="599357"/>
            <a:ext cx="6471877" cy="3792171"/>
          </a:xfr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08207" y="4330223"/>
            <a:ext cx="1029886" cy="116278"/>
          </a:xfrm>
          <a:prstGeom prst="rect">
            <a:avLst/>
          </a:prstGeom>
        </p:spPr>
      </p:pic>
      <p:sp>
        <p:nvSpPr>
          <p:cNvPr id="2" name="Thought Bubble: Cloud 1"/>
          <p:cNvSpPr/>
          <p:nvPr/>
        </p:nvSpPr>
        <p:spPr>
          <a:xfrm>
            <a:off x="6319848" y="661582"/>
            <a:ext cx="1681152" cy="1021572"/>
          </a:xfrm>
          <a:prstGeom prst="cloudCallout">
            <a:avLst>
              <a:gd name="adj1" fmla="val -12628"/>
              <a:gd name="adj2" fmla="val 66008"/>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术语表达</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6" name="Thought Bubble: Cloud 5"/>
          <p:cNvSpPr/>
          <p:nvPr/>
        </p:nvSpPr>
        <p:spPr>
          <a:xfrm>
            <a:off x="6319848" y="2132842"/>
            <a:ext cx="1681152" cy="1021572"/>
          </a:xfrm>
          <a:prstGeom prst="cloudCallout">
            <a:avLst>
              <a:gd name="adj1" fmla="val -5449"/>
              <a:gd name="adj2" fmla="val -60307"/>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不同机理</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7" name="Thought Bubble: Cloud 6"/>
          <p:cNvSpPr/>
          <p:nvPr/>
        </p:nvSpPr>
        <p:spPr>
          <a:xfrm>
            <a:off x="5013235" y="1552467"/>
            <a:ext cx="1681152" cy="1021572"/>
          </a:xfrm>
          <a:prstGeom prst="cloudCallout">
            <a:avLst>
              <a:gd name="adj1" fmla="val 18141"/>
              <a:gd name="adj2" fmla="val 55482"/>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材料种类</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8" name="Thought Bubble: Cloud 7"/>
          <p:cNvSpPr/>
          <p:nvPr/>
        </p:nvSpPr>
        <p:spPr>
          <a:xfrm>
            <a:off x="5391161" y="3133012"/>
            <a:ext cx="1681152" cy="1021572"/>
          </a:xfrm>
          <a:prstGeom prst="cloudCallout">
            <a:avLst>
              <a:gd name="adj1" fmla="val -4424"/>
              <a:gd name="adj2" fmla="val -73465"/>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电池类型</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9" name="Thought Bubble: Cloud 8"/>
          <p:cNvSpPr/>
          <p:nvPr/>
        </p:nvSpPr>
        <p:spPr>
          <a:xfrm>
            <a:off x="6370218" y="3703029"/>
            <a:ext cx="1039819" cy="631858"/>
          </a:xfrm>
          <a:prstGeom prst="cloudCallout">
            <a:avLst>
              <a:gd name="adj1" fmla="val 22989"/>
              <a:gd name="adj2" fmla="val -24032"/>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10" name="Thought Bubble: Cloud 9"/>
          <p:cNvSpPr/>
          <p:nvPr/>
        </p:nvSpPr>
        <p:spPr>
          <a:xfrm>
            <a:off x="7109260" y="4056565"/>
            <a:ext cx="808646" cy="491384"/>
          </a:xfrm>
          <a:prstGeom prst="cloudCallout">
            <a:avLst>
              <a:gd name="adj1" fmla="val -1767"/>
              <a:gd name="adj2" fmla="val -18553"/>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5811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50"/>
                                        <p:tgtEl>
                                          <p:spTgt spid="2"/>
                                        </p:tgtEl>
                                      </p:cBhvr>
                                    </p:animEffect>
                                  </p:childTnLst>
                                </p:cTn>
                              </p:par>
                            </p:childTnLst>
                          </p:cTn>
                        </p:par>
                        <p:par>
                          <p:cTn id="8" fill="hold">
                            <p:stCondLst>
                              <p:cond delay="250"/>
                            </p:stCondLst>
                            <p:childTnLst>
                              <p:par>
                                <p:cTn id="9" presetID="6" presetClass="entr" presetSubtype="32"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circle(out)">
                                      <p:cBhvr>
                                        <p:cTn id="11" dur="250"/>
                                        <p:tgtEl>
                                          <p:spTgt spid="7"/>
                                        </p:tgtEl>
                                      </p:cBhvr>
                                    </p:animEffect>
                                  </p:childTnLst>
                                </p:cTn>
                              </p:par>
                            </p:childTnLst>
                          </p:cTn>
                        </p:par>
                        <p:par>
                          <p:cTn id="12" fill="hold">
                            <p:stCondLst>
                              <p:cond delay="500"/>
                            </p:stCondLst>
                            <p:childTnLst>
                              <p:par>
                                <p:cTn id="13" presetID="6" presetClass="entr" presetSubtype="32"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circle(out)">
                                      <p:cBhvr>
                                        <p:cTn id="15" dur="250"/>
                                        <p:tgtEl>
                                          <p:spTgt spid="6"/>
                                        </p:tgtEl>
                                      </p:cBhvr>
                                    </p:animEffect>
                                  </p:childTnLst>
                                </p:cTn>
                              </p:par>
                            </p:childTnLst>
                          </p:cTn>
                        </p:par>
                        <p:par>
                          <p:cTn id="16" fill="hold">
                            <p:stCondLst>
                              <p:cond delay="750"/>
                            </p:stCondLst>
                            <p:childTnLst>
                              <p:par>
                                <p:cTn id="17" presetID="6" presetClass="entr" presetSubtype="3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out)">
                                      <p:cBhvr>
                                        <p:cTn id="19" dur="250"/>
                                        <p:tgtEl>
                                          <p:spTgt spid="8"/>
                                        </p:tgtEl>
                                      </p:cBhvr>
                                    </p:animEffect>
                                  </p:childTnLst>
                                </p:cTn>
                              </p:par>
                            </p:childTnLst>
                          </p:cTn>
                        </p:par>
                        <p:par>
                          <p:cTn id="20" fill="hold">
                            <p:stCondLst>
                              <p:cond delay="1000"/>
                            </p:stCondLst>
                            <p:childTnLst>
                              <p:par>
                                <p:cTn id="21" presetID="6" presetClass="entr" presetSubtype="32"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circle(out)">
                                      <p:cBhvr>
                                        <p:cTn id="23" dur="250"/>
                                        <p:tgtEl>
                                          <p:spTgt spid="9"/>
                                        </p:tgtEl>
                                      </p:cBhvr>
                                    </p:animEffect>
                                  </p:childTnLst>
                                </p:cTn>
                              </p:par>
                            </p:childTnLst>
                          </p:cTn>
                        </p:par>
                        <p:par>
                          <p:cTn id="24" fill="hold">
                            <p:stCondLst>
                              <p:cond delay="1250"/>
                            </p:stCondLst>
                            <p:childTnLst>
                              <p:par>
                                <p:cTn id="25" presetID="6" presetClass="entr" presetSubtype="32"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circle(out)">
                                      <p:cBhvr>
                                        <p:cTn id="27" dur="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8" grpId="0" animBg="1"/>
      <p:bldP spid="9" grpId="0" animBg="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3"/>
          <p:cNvPicPr>
            <a:picLocks noChangeAspect="1"/>
          </p:cNvPicPr>
          <p:nvPr/>
        </p:nvPicPr>
        <p:blipFill>
          <a:blip r:embed="rId3" cstate="print">
            <a:extLst>
              <a:ext uri="{28A0092B-C50C-407E-A947-70E740481C1C}">
                <a14:useLocalDpi xmlns:a14="http://schemas.microsoft.com/office/drawing/2010/main" val="0"/>
              </a:ext>
            </a:extLst>
          </a:blip>
          <a:srcRect t="6103" b="6103"/>
          <a:stretch>
            <a:fillRect/>
          </a:stretch>
        </p:blipFill>
        <p:spPr>
          <a:xfrm>
            <a:off x="1143000" y="1125082"/>
            <a:ext cx="6858000" cy="4018418"/>
          </a:xfrm>
          <a:prstGeom prst="rect">
            <a:avLst/>
          </a:prstGeom>
        </p:spPr>
      </p:pic>
      <p:pic>
        <p:nvPicPr>
          <p:cNvPr id="7" name="Picture Placeholder 6" descr="iStock_000049507664_XXXLarge2.jpg"/>
          <p:cNvPicPr>
            <a:picLocks noGrp="1" noChangeAspect="1"/>
          </p:cNvPicPr>
          <p:nvPr>
            <p:ph type="pic" idx="1"/>
          </p:nvPr>
        </p:nvPicPr>
        <p:blipFill>
          <a:blip r:embed="rId4" cstate="print">
            <a:extLst>
              <a:ext uri="{28A0092B-C50C-407E-A947-70E740481C1C}">
                <a14:useLocalDpi xmlns:a14="http://schemas.microsoft.com/office/drawing/2010/main" val="0"/>
              </a:ext>
            </a:extLst>
          </a:blip>
          <a:srcRect t="6103" b="6103"/>
          <a:stretch>
            <a:fillRect/>
          </a:stretch>
        </p:blipFill>
        <p:spPr/>
      </p:pic>
      <p:sp>
        <p:nvSpPr>
          <p:cNvPr id="54" name="Rectangle 53"/>
          <p:cNvSpPr/>
          <p:nvPr/>
        </p:nvSpPr>
        <p:spPr>
          <a:xfrm>
            <a:off x="1371931" y="380155"/>
            <a:ext cx="6858000" cy="784830"/>
          </a:xfrm>
          <a:prstGeom prst="rect">
            <a:avLst/>
          </a:prstGeom>
        </p:spPr>
        <p:txBody>
          <a:bodyPr wrap="square">
            <a:spAutoFit/>
          </a:bodyPr>
          <a:lstStyle/>
          <a:p>
            <a:r>
              <a:rPr lang="zh-CN" altLang="en-US" sz="2400" b="1" dirty="0">
                <a:solidFill>
                  <a:srgbClr val="53565A"/>
                </a:solidFill>
                <a:latin typeface="黑体" panose="02010609060101010101" pitchFamily="49" charset="-122"/>
                <a:ea typeface="黑体" panose="02010609060101010101" pitchFamily="49" charset="-122"/>
              </a:rPr>
              <a:t>如果没有</a:t>
            </a:r>
            <a:r>
              <a:rPr lang="en-US" altLang="zh-CN" sz="2025" b="1" dirty="0">
                <a:solidFill>
                  <a:srgbClr val="53565A"/>
                </a:solidFill>
              </a:rPr>
              <a:t>Engineering Village</a:t>
            </a:r>
            <a:r>
              <a:rPr lang="zh-CN" altLang="en-US" sz="2100" b="1" dirty="0">
                <a:solidFill>
                  <a:srgbClr val="53565A"/>
                </a:solidFill>
                <a:latin typeface="黑体" panose="02010609060101010101" pitchFamily="49" charset="-122"/>
                <a:ea typeface="黑体" panose="02010609060101010101" pitchFamily="49" charset="-122"/>
              </a:rPr>
              <a:t>上的</a:t>
            </a:r>
            <a:r>
              <a:rPr lang="en-US" altLang="zh-CN" sz="2025" b="1" dirty="0" err="1">
                <a:solidFill>
                  <a:srgbClr val="53565A"/>
                </a:solidFill>
              </a:rPr>
              <a:t>Ei</a:t>
            </a:r>
            <a:r>
              <a:rPr lang="en-US" altLang="zh-CN" sz="2025" b="1" dirty="0">
                <a:solidFill>
                  <a:srgbClr val="53565A"/>
                </a:solidFill>
              </a:rPr>
              <a:t> Compendex</a:t>
            </a:r>
            <a:endParaRPr lang="en-US" sz="2025" b="1" dirty="0">
              <a:solidFill>
                <a:srgbClr val="53565A"/>
              </a:solidFill>
            </a:endParaRPr>
          </a:p>
          <a:p>
            <a:endParaRPr lang="en-US" sz="2100" b="1" dirty="0">
              <a:solidFill>
                <a:srgbClr val="53565A"/>
              </a:solidFill>
            </a:endParaRPr>
          </a:p>
        </p:txBody>
      </p:sp>
      <p:grpSp>
        <p:nvGrpSpPr>
          <p:cNvPr id="2" name="Group 1"/>
          <p:cNvGrpSpPr/>
          <p:nvPr/>
        </p:nvGrpSpPr>
        <p:grpSpPr>
          <a:xfrm rot="21032115">
            <a:off x="2568796" y="2089969"/>
            <a:ext cx="1366718" cy="854080"/>
            <a:chOff x="4186686" y="2154184"/>
            <a:chExt cx="1097269" cy="1322221"/>
          </a:xfrm>
          <a:noFill/>
        </p:grpSpPr>
        <p:sp>
          <p:nvSpPr>
            <p:cNvPr id="42" name="Oval 41"/>
            <p:cNvSpPr/>
            <p:nvPr/>
          </p:nvSpPr>
          <p:spPr>
            <a:xfrm>
              <a:off x="4186686" y="2632850"/>
              <a:ext cx="841799" cy="779497"/>
            </a:xfrm>
            <a:prstGeom prst="ellipse">
              <a:avLst/>
            </a:prstGeom>
            <a:grp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a:solidFill>
                  <a:schemeClr val="tx2"/>
                </a:solidFill>
              </a:endParaRPr>
            </a:p>
          </p:txBody>
        </p:sp>
        <p:sp>
          <p:nvSpPr>
            <p:cNvPr id="14" name="TextBox 13"/>
            <p:cNvSpPr txBox="1"/>
            <p:nvPr/>
          </p:nvSpPr>
          <p:spPr>
            <a:xfrm>
              <a:off x="4287073" y="2154184"/>
              <a:ext cx="996882" cy="1322221"/>
            </a:xfrm>
            <a:prstGeom prst="rect">
              <a:avLst/>
            </a:prstGeom>
            <a:grpFill/>
            <a:ln>
              <a:noFill/>
            </a:ln>
          </p:spPr>
          <p:txBody>
            <a:bodyPr wrap="square" rtlCol="0">
              <a:spAutoFit/>
            </a:bodyPr>
            <a:lstStyle/>
            <a:p>
              <a:pPr algn="ctr"/>
              <a:r>
                <a:rPr lang="en-US" sz="4950" dirty="0">
                  <a:solidFill>
                    <a:schemeClr val="tx2"/>
                  </a:solidFill>
                </a:rPr>
                <a:t>NO</a:t>
              </a:r>
            </a:p>
          </p:txBody>
        </p:sp>
      </p:grpSp>
      <p:sp>
        <p:nvSpPr>
          <p:cNvPr id="26" name="Rectangle 25"/>
          <p:cNvSpPr/>
          <p:nvPr/>
        </p:nvSpPr>
        <p:spPr>
          <a:xfrm>
            <a:off x="1143001" y="4362951"/>
            <a:ext cx="6858001" cy="7905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5" name="TextBox 4"/>
          <p:cNvSpPr txBox="1"/>
          <p:nvPr/>
        </p:nvSpPr>
        <p:spPr>
          <a:xfrm>
            <a:off x="5344027" y="7299158"/>
            <a:ext cx="184731" cy="300082"/>
          </a:xfrm>
          <a:prstGeom prst="rect">
            <a:avLst/>
          </a:prstGeom>
          <a:noFill/>
        </p:spPr>
        <p:txBody>
          <a:bodyPr wrap="none" rtlCol="0">
            <a:spAutoFit/>
          </a:bodyPr>
          <a:lstStyle/>
          <a:p>
            <a:endParaRPr lang="en-US" sz="1350" dirty="0"/>
          </a:p>
        </p:txBody>
      </p:sp>
      <p:grpSp>
        <p:nvGrpSpPr>
          <p:cNvPr id="8" name="Group 7"/>
          <p:cNvGrpSpPr/>
          <p:nvPr/>
        </p:nvGrpSpPr>
        <p:grpSpPr>
          <a:xfrm>
            <a:off x="4942974" y="2336283"/>
            <a:ext cx="3058027" cy="1306918"/>
            <a:chOff x="5066631" y="3115044"/>
            <a:chExt cx="4211051" cy="1742557"/>
          </a:xfrm>
        </p:grpSpPr>
        <p:sp>
          <p:nvSpPr>
            <p:cNvPr id="15" name="Rectangle 18"/>
            <p:cNvSpPr/>
            <p:nvPr/>
          </p:nvSpPr>
          <p:spPr>
            <a:xfrm>
              <a:off x="5066631" y="3115044"/>
              <a:ext cx="4211051" cy="1742557"/>
            </a:xfrm>
            <a:custGeom>
              <a:avLst/>
              <a:gdLst>
                <a:gd name="connsiteX0" fmla="*/ 0 w 1280160"/>
                <a:gd name="connsiteY0" fmla="*/ 0 h 533400"/>
                <a:gd name="connsiteX1" fmla="*/ 1280160 w 1280160"/>
                <a:gd name="connsiteY1" fmla="*/ 0 h 533400"/>
                <a:gd name="connsiteX2" fmla="*/ 1280160 w 1280160"/>
                <a:gd name="connsiteY2" fmla="*/ 533400 h 533400"/>
                <a:gd name="connsiteX3" fmla="*/ 0 w 1280160"/>
                <a:gd name="connsiteY3" fmla="*/ 533400 h 533400"/>
                <a:gd name="connsiteX4" fmla="*/ 0 w 1280160"/>
                <a:gd name="connsiteY4" fmla="*/ 0 h 533400"/>
                <a:gd name="connsiteX0" fmla="*/ 0 w 1288107"/>
                <a:gd name="connsiteY0" fmla="*/ 0 h 533400"/>
                <a:gd name="connsiteX1" fmla="*/ 1280160 w 1288107"/>
                <a:gd name="connsiteY1" fmla="*/ 0 h 533400"/>
                <a:gd name="connsiteX2" fmla="*/ 1288107 w 1288107"/>
                <a:gd name="connsiteY2" fmla="*/ 266699 h 533400"/>
                <a:gd name="connsiteX3" fmla="*/ 1280160 w 1288107"/>
                <a:gd name="connsiteY3" fmla="*/ 533400 h 533400"/>
                <a:gd name="connsiteX4" fmla="*/ 0 w 1288107"/>
                <a:gd name="connsiteY4" fmla="*/ 533400 h 533400"/>
                <a:gd name="connsiteX5" fmla="*/ 0 w 1288107"/>
                <a:gd name="connsiteY5" fmla="*/ 0 h 533400"/>
                <a:gd name="connsiteX0" fmla="*/ 0 w 1535757"/>
                <a:gd name="connsiteY0" fmla="*/ 0 h 533400"/>
                <a:gd name="connsiteX1" fmla="*/ 1280160 w 1535757"/>
                <a:gd name="connsiteY1" fmla="*/ 0 h 533400"/>
                <a:gd name="connsiteX2" fmla="*/ 1535757 w 1535757"/>
                <a:gd name="connsiteY2" fmla="*/ 276224 h 533400"/>
                <a:gd name="connsiteX3" fmla="*/ 1280160 w 1535757"/>
                <a:gd name="connsiteY3" fmla="*/ 533400 h 533400"/>
                <a:gd name="connsiteX4" fmla="*/ 0 w 1535757"/>
                <a:gd name="connsiteY4" fmla="*/ 533400 h 533400"/>
                <a:gd name="connsiteX5" fmla="*/ 0 w 1535757"/>
                <a:gd name="connsiteY5" fmla="*/ 0 h 533400"/>
                <a:gd name="connsiteX0" fmla="*/ 133004 w 1668761"/>
                <a:gd name="connsiteY0" fmla="*/ 0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133004 w 1668761"/>
                <a:gd name="connsiteY5" fmla="*/ 0 h 533400"/>
                <a:gd name="connsiteX0" fmla="*/ 0 w 1668761"/>
                <a:gd name="connsiteY0" fmla="*/ 8313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0 w 1668761"/>
                <a:gd name="connsiteY5" fmla="*/ 8313 h 533400"/>
                <a:gd name="connsiteX0" fmla="*/ 0 w 1413164"/>
                <a:gd name="connsiteY0" fmla="*/ 8313 h 533400"/>
                <a:gd name="connsiteX1" fmla="*/ 1413164 w 1413164"/>
                <a:gd name="connsiteY1" fmla="*/ 0 h 533400"/>
                <a:gd name="connsiteX2" fmla="*/ 1413164 w 1413164"/>
                <a:gd name="connsiteY2" fmla="*/ 533400 h 533400"/>
                <a:gd name="connsiteX3" fmla="*/ 0 w 1413164"/>
                <a:gd name="connsiteY3" fmla="*/ 533400 h 533400"/>
                <a:gd name="connsiteX4" fmla="*/ 0 w 1413164"/>
                <a:gd name="connsiteY4" fmla="*/ 8313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64" h="533400">
                  <a:moveTo>
                    <a:pt x="0" y="8313"/>
                  </a:moveTo>
                  <a:lnTo>
                    <a:pt x="1413164" y="0"/>
                  </a:lnTo>
                  <a:lnTo>
                    <a:pt x="1413164" y="533400"/>
                  </a:lnTo>
                  <a:lnTo>
                    <a:pt x="0" y="533400"/>
                  </a:lnTo>
                  <a:lnTo>
                    <a:pt x="0" y="8313"/>
                  </a:lnTo>
                  <a:close/>
                </a:path>
              </a:pathLst>
            </a:custGeom>
            <a:solidFill>
              <a:srgbClr val="FF82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1"/>
                </a:solidFill>
              </a:endParaRPr>
            </a:p>
          </p:txBody>
        </p:sp>
        <p:sp>
          <p:nvSpPr>
            <p:cNvPr id="3" name="Rectangle 2"/>
            <p:cNvSpPr/>
            <p:nvPr/>
          </p:nvSpPr>
          <p:spPr>
            <a:xfrm>
              <a:off x="5290706" y="3342303"/>
              <a:ext cx="3759715" cy="1231106"/>
            </a:xfrm>
            <a:prstGeom prst="rect">
              <a:avLst/>
            </a:prstGeom>
            <a:noFill/>
          </p:spPr>
          <p:txBody>
            <a:bodyPr wrap="square">
              <a:spAutoFit/>
            </a:bodyPr>
            <a:lstStyle/>
            <a:p>
              <a:r>
                <a:rPr lang="zh-CN" altLang="en-US" dirty="0">
                  <a:solidFill>
                    <a:schemeClr val="bg1"/>
                  </a:solidFill>
                  <a:latin typeface="黑体" panose="02010609060101010101" pitchFamily="49" charset="-122"/>
                  <a:ea typeface="黑体" panose="02010609060101010101" pitchFamily="49" charset="-122"/>
                </a:rPr>
                <a:t>工程师需要花上</a:t>
              </a:r>
              <a:r>
                <a:rPr lang="en-US" altLang="zh-CN" b="1" dirty="0">
                  <a:solidFill>
                    <a:schemeClr val="bg1"/>
                  </a:solidFill>
                  <a:latin typeface="黑体" panose="02010609060101010101" pitchFamily="49" charset="-122"/>
                  <a:ea typeface="黑体" panose="02010609060101010101" pitchFamily="49" charset="-122"/>
                </a:rPr>
                <a:t>2</a:t>
              </a:r>
              <a:r>
                <a:rPr lang="zh-CN" altLang="en-US" b="1" dirty="0">
                  <a:solidFill>
                    <a:schemeClr val="bg1"/>
                  </a:solidFill>
                  <a:latin typeface="黑体" panose="02010609060101010101" pitchFamily="49" charset="-122"/>
                  <a:ea typeface="黑体" panose="02010609060101010101" pitchFamily="49" charset="-122"/>
                </a:rPr>
                <a:t>页半长的搜索查询</a:t>
              </a:r>
              <a:r>
                <a:rPr lang="zh-CN" altLang="en-US" dirty="0">
                  <a:solidFill>
                    <a:schemeClr val="bg1"/>
                  </a:solidFill>
                  <a:latin typeface="黑体" panose="02010609060101010101" pitchFamily="49" charset="-122"/>
                  <a:ea typeface="黑体" panose="02010609060101010101" pitchFamily="49" charset="-122"/>
                </a:rPr>
                <a:t>才能相当于</a:t>
              </a:r>
              <a:r>
                <a:rPr lang="en-US" altLang="zh-CN" dirty="0" err="1">
                  <a:solidFill>
                    <a:schemeClr val="bg1"/>
                  </a:solidFill>
                  <a:latin typeface="黑体" panose="02010609060101010101" pitchFamily="49" charset="-122"/>
                  <a:ea typeface="黑体" panose="02010609060101010101" pitchFamily="49" charset="-122"/>
                </a:rPr>
                <a:t>Ei</a:t>
              </a:r>
              <a:r>
                <a:rPr lang="en-US" altLang="zh-CN" dirty="0">
                  <a:solidFill>
                    <a:schemeClr val="bg1"/>
                  </a:solidFill>
                  <a:latin typeface="黑体" panose="02010609060101010101" pitchFamily="49" charset="-122"/>
                  <a:ea typeface="黑体" panose="02010609060101010101" pitchFamily="49" charset="-122"/>
                </a:rPr>
                <a:t> Compendex</a:t>
              </a:r>
              <a:r>
                <a:rPr lang="zh-CN" altLang="en-US" dirty="0">
                  <a:solidFill>
                    <a:schemeClr val="bg1"/>
                  </a:solidFill>
                  <a:latin typeface="黑体" panose="02010609060101010101" pitchFamily="49" charset="-122"/>
                  <a:ea typeface="黑体" panose="02010609060101010101" pitchFamily="49" charset="-122"/>
                </a:rPr>
                <a:t>叙词表的贡献</a:t>
              </a:r>
              <a:endParaRPr lang="en-US" dirty="0">
                <a:solidFill>
                  <a:schemeClr val="bg1"/>
                </a:solidFill>
                <a:latin typeface="黑体" panose="02010609060101010101" pitchFamily="49" charset="-122"/>
                <a:ea typeface="黑体" panose="02010609060101010101" pitchFamily="49" charset="-122"/>
              </a:endParaRPr>
            </a:p>
          </p:txBody>
        </p:sp>
      </p:gr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46762" y="4823039"/>
            <a:ext cx="1091331" cy="123215"/>
          </a:xfrm>
          <a:prstGeom prst="rect">
            <a:avLst/>
          </a:prstGeom>
        </p:spPr>
      </p:pic>
    </p:spTree>
    <p:extLst>
      <p:ext uri="{BB962C8B-B14F-4D97-AF65-F5344CB8AC3E}">
        <p14:creationId xmlns:p14="http://schemas.microsoft.com/office/powerpoint/2010/main" val="125523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88A748-D347-4827-8B51-5846C711D569}"/>
              </a:ext>
            </a:extLst>
          </p:cNvPr>
          <p:cNvSpPr>
            <a:spLocks noGrp="1"/>
          </p:cNvSpPr>
          <p:nvPr>
            <p:ph type="body" sz="quarter" idx="10"/>
          </p:nvPr>
        </p:nvSpPr>
        <p:spPr>
          <a:xfrm>
            <a:off x="1524477" y="266301"/>
            <a:ext cx="6492240" cy="214313"/>
          </a:xfrm>
        </p:spPr>
        <p:txBody>
          <a:bodyPr rtlCol="0">
            <a:noAutofit/>
          </a:bodyPr>
          <a:lstStyle/>
          <a:p>
            <a:pPr defTabSz="342887">
              <a:spcAft>
                <a:spcPts val="0"/>
              </a:spcAft>
              <a:defRPr/>
            </a:pPr>
            <a:r>
              <a:rPr lang="zh-CN" altLang="en-US" sz="2520" b="1" dirty="0">
                <a:latin typeface="+mj-ea"/>
                <a:ea typeface="+mj-ea"/>
              </a:rPr>
              <a:t>信息在工程领域的使用</a:t>
            </a:r>
            <a:r>
              <a:rPr lang="en-US" altLang="zh-CN" sz="2520" b="1" dirty="0">
                <a:latin typeface="+mj-ea"/>
                <a:ea typeface="+mj-ea"/>
              </a:rPr>
              <a:t>-</a:t>
            </a:r>
            <a:r>
              <a:rPr lang="zh-CN" altLang="en-US" sz="2520" b="1" dirty="0">
                <a:latin typeface="+mj-ea"/>
                <a:ea typeface="+mj-ea"/>
              </a:rPr>
              <a:t>常见问题解答</a:t>
            </a:r>
            <a:endParaRPr lang="en-US" sz="2520" b="1" dirty="0">
              <a:latin typeface="+mj-ea"/>
              <a:ea typeface="+mj-ea"/>
            </a:endParaRPr>
          </a:p>
        </p:txBody>
      </p:sp>
      <p:grpSp>
        <p:nvGrpSpPr>
          <p:cNvPr id="15363" name="Group 22">
            <a:extLst>
              <a:ext uri="{FF2B5EF4-FFF2-40B4-BE49-F238E27FC236}">
                <a16:creationId xmlns:a16="http://schemas.microsoft.com/office/drawing/2014/main" id="{D718EE28-F9FF-4788-92B0-DEBAC1D4C99F}"/>
              </a:ext>
            </a:extLst>
          </p:cNvPr>
          <p:cNvGrpSpPr>
            <a:grpSpLocks/>
          </p:cNvGrpSpPr>
          <p:nvPr/>
        </p:nvGrpSpPr>
        <p:grpSpPr bwMode="auto">
          <a:xfrm>
            <a:off x="138313" y="740074"/>
            <a:ext cx="8898111" cy="2073116"/>
            <a:chOff x="-230248" y="1693859"/>
            <a:chExt cx="9095076" cy="2751019"/>
          </a:xfrm>
        </p:grpSpPr>
        <p:sp>
          <p:nvSpPr>
            <p:cNvPr id="15366" name="TextBox 2">
              <a:extLst>
                <a:ext uri="{FF2B5EF4-FFF2-40B4-BE49-F238E27FC236}">
                  <a16:creationId xmlns:a16="http://schemas.microsoft.com/office/drawing/2014/main" id="{504278E7-D417-4659-812D-EC4584C49985}"/>
                </a:ext>
              </a:extLst>
            </p:cNvPr>
            <p:cNvSpPr txBox="1">
              <a:spLocks noChangeArrowheads="1"/>
            </p:cNvSpPr>
            <p:nvPr/>
          </p:nvSpPr>
          <p:spPr bwMode="auto">
            <a:xfrm>
              <a:off x="614680" y="1693859"/>
              <a:ext cx="3755780" cy="489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440" b="1" dirty="0">
                  <a:solidFill>
                    <a:schemeClr val="tx2"/>
                  </a:solidFill>
                </a:rPr>
                <a:t>科研</a:t>
              </a:r>
              <a:endParaRPr lang="en-US" altLang="en-US" sz="1440" b="1" dirty="0">
                <a:solidFill>
                  <a:schemeClr val="tx2"/>
                </a:solidFill>
              </a:endParaRPr>
            </a:p>
          </p:txBody>
        </p:sp>
        <p:sp>
          <p:nvSpPr>
            <p:cNvPr id="4" name="TextBox 3">
              <a:extLst>
                <a:ext uri="{FF2B5EF4-FFF2-40B4-BE49-F238E27FC236}">
                  <a16:creationId xmlns:a16="http://schemas.microsoft.com/office/drawing/2014/main" id="{AD281D26-4056-409D-8918-5AFC15F65A97}"/>
                </a:ext>
              </a:extLst>
            </p:cNvPr>
            <p:cNvSpPr txBox="1"/>
            <p:nvPr/>
          </p:nvSpPr>
          <p:spPr>
            <a:xfrm>
              <a:off x="4889068" y="1785262"/>
              <a:ext cx="3670812" cy="447627"/>
            </a:xfrm>
            <a:prstGeom prst="rect">
              <a:avLst/>
            </a:prstGeom>
            <a:noFill/>
          </p:spPr>
          <p:txBody>
            <a:bodyPr>
              <a:spAutoFit/>
            </a:bodyPr>
            <a:lstStyle/>
            <a:p>
              <a:pPr algn="ctr" defTabSz="320954">
                <a:defRPr/>
              </a:pPr>
              <a:r>
                <a:rPr lang="zh-CN" altLang="en-US" sz="1264" b="1" dirty="0">
                  <a:solidFill>
                    <a:schemeClr val="tx2"/>
                  </a:solidFill>
                </a:rPr>
                <a:t>教学</a:t>
              </a:r>
              <a:endParaRPr lang="en-US" sz="1264" b="1" dirty="0">
                <a:solidFill>
                  <a:schemeClr val="tx2"/>
                </a:solidFill>
              </a:endParaRPr>
            </a:p>
          </p:txBody>
        </p:sp>
        <p:sp>
          <p:nvSpPr>
            <p:cNvPr id="15368" name="TextBox 139">
              <a:extLst>
                <a:ext uri="{FF2B5EF4-FFF2-40B4-BE49-F238E27FC236}">
                  <a16:creationId xmlns:a16="http://schemas.microsoft.com/office/drawing/2014/main" id="{225E07C6-E18B-430B-A714-ABEAE4082829}"/>
                </a:ext>
              </a:extLst>
            </p:cNvPr>
            <p:cNvSpPr txBox="1">
              <a:spLocks noChangeArrowheads="1"/>
            </p:cNvSpPr>
            <p:nvPr/>
          </p:nvSpPr>
          <p:spPr bwMode="auto">
            <a:xfrm>
              <a:off x="4370460" y="3986250"/>
              <a:ext cx="17922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课程设计</a:t>
              </a:r>
            </a:p>
          </p:txBody>
        </p:sp>
        <p:sp>
          <p:nvSpPr>
            <p:cNvPr id="15369" name="TextBox 139">
              <a:extLst>
                <a:ext uri="{FF2B5EF4-FFF2-40B4-BE49-F238E27FC236}">
                  <a16:creationId xmlns:a16="http://schemas.microsoft.com/office/drawing/2014/main" id="{29BDA314-6C49-4E4E-8748-9C8B43732F02}"/>
                </a:ext>
              </a:extLst>
            </p:cNvPr>
            <p:cNvSpPr txBox="1">
              <a:spLocks noChangeArrowheads="1"/>
            </p:cNvSpPr>
            <p:nvPr/>
          </p:nvSpPr>
          <p:spPr bwMode="auto">
            <a:xfrm>
              <a:off x="5298407" y="2356833"/>
              <a:ext cx="17922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授课</a:t>
              </a:r>
              <a:r>
                <a:rPr lang="en-US" altLang="zh-CN" sz="1260">
                  <a:solidFill>
                    <a:srgbClr val="000000"/>
                  </a:solidFill>
                </a:rPr>
                <a:t>&amp;</a:t>
              </a:r>
              <a:r>
                <a:rPr lang="zh-CN" altLang="en-US" sz="1260">
                  <a:solidFill>
                    <a:srgbClr val="000000"/>
                  </a:solidFill>
                </a:rPr>
                <a:t>布置作业</a:t>
              </a:r>
              <a:endParaRPr lang="en-US" altLang="en-US" sz="1260">
                <a:solidFill>
                  <a:srgbClr val="000000"/>
                </a:solidFill>
              </a:endParaRPr>
            </a:p>
          </p:txBody>
        </p:sp>
        <p:sp>
          <p:nvSpPr>
            <p:cNvPr id="15370" name="TextBox 139">
              <a:extLst>
                <a:ext uri="{FF2B5EF4-FFF2-40B4-BE49-F238E27FC236}">
                  <a16:creationId xmlns:a16="http://schemas.microsoft.com/office/drawing/2014/main" id="{197F6D08-3A67-4502-AFD1-B2278791FA28}"/>
                </a:ext>
              </a:extLst>
            </p:cNvPr>
            <p:cNvSpPr txBox="1">
              <a:spLocks noChangeArrowheads="1"/>
            </p:cNvSpPr>
            <p:nvPr/>
          </p:nvSpPr>
          <p:spPr bwMode="auto">
            <a:xfrm>
              <a:off x="6190044" y="3998251"/>
              <a:ext cx="17922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分享支持工具</a:t>
              </a:r>
              <a:endParaRPr lang="en-US" altLang="en-US" sz="1260">
                <a:solidFill>
                  <a:srgbClr val="000000"/>
                </a:solidFill>
              </a:endParaRPr>
            </a:p>
          </p:txBody>
        </p:sp>
        <p:sp>
          <p:nvSpPr>
            <p:cNvPr id="8" name="TextBox 139">
              <a:extLst>
                <a:ext uri="{FF2B5EF4-FFF2-40B4-BE49-F238E27FC236}">
                  <a16:creationId xmlns:a16="http://schemas.microsoft.com/office/drawing/2014/main" id="{F86D64A7-9B82-4938-BC5E-B878CB883924}"/>
                </a:ext>
              </a:extLst>
            </p:cNvPr>
            <p:cNvSpPr txBox="1">
              <a:spLocks noChangeArrowheads="1"/>
            </p:cNvSpPr>
            <p:nvPr/>
          </p:nvSpPr>
          <p:spPr bwMode="auto">
            <a:xfrm>
              <a:off x="7073258" y="2391652"/>
              <a:ext cx="1791570"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Narrow" pitchFamily="34" charset="0"/>
                </a:defRPr>
              </a:lvl1pPr>
              <a:lvl2pPr>
                <a:defRPr sz="2000">
                  <a:solidFill>
                    <a:schemeClr val="tx1"/>
                  </a:solidFill>
                  <a:latin typeface="Arial Narrow" pitchFamily="34" charset="0"/>
                  <a:ea typeface="ＭＳ Ｐゴシック" pitchFamily="34" charset="-128"/>
                </a:defRPr>
              </a:lvl2pPr>
              <a:lvl3pPr>
                <a:defRPr>
                  <a:solidFill>
                    <a:schemeClr val="tx1"/>
                  </a:solidFill>
                  <a:latin typeface="Arial Narrow" pitchFamily="34" charset="0"/>
                  <a:ea typeface="ＭＳ Ｐゴシック" pitchFamily="34" charset="-128"/>
                </a:defRPr>
              </a:lvl3pPr>
              <a:lvl4pPr>
                <a:defRPr sz="1400">
                  <a:solidFill>
                    <a:schemeClr val="tx1"/>
                  </a:solidFill>
                  <a:latin typeface="Arial Narrow" pitchFamily="34" charset="0"/>
                  <a:ea typeface="ＭＳ Ｐゴシック" pitchFamily="34" charset="-128"/>
                </a:defRPr>
              </a:lvl4pPr>
              <a:lvl5pPr>
                <a:defRPr sz="1200">
                  <a:solidFill>
                    <a:schemeClr val="tx1"/>
                  </a:solidFill>
                  <a:latin typeface="Arial Narrow" pitchFamily="34" charset="0"/>
                  <a:ea typeface="ＭＳ Ｐゴシック" pitchFamily="34" charset="-128"/>
                </a:defRPr>
              </a:lvl5pPr>
              <a:lvl6pPr eaLnBrk="0" hangingPunct="0">
                <a:defRPr sz="1200">
                  <a:solidFill>
                    <a:schemeClr val="tx1"/>
                  </a:solidFill>
                  <a:latin typeface="Arial Narrow" pitchFamily="34" charset="0"/>
                  <a:ea typeface="ＭＳ Ｐゴシック" pitchFamily="34" charset="-128"/>
                </a:defRPr>
              </a:lvl6pPr>
              <a:lvl7pPr eaLnBrk="0" hangingPunct="0">
                <a:defRPr sz="1200">
                  <a:solidFill>
                    <a:schemeClr val="tx1"/>
                  </a:solidFill>
                  <a:latin typeface="Arial Narrow" pitchFamily="34" charset="0"/>
                  <a:ea typeface="ＭＳ Ｐゴシック" pitchFamily="34" charset="-128"/>
                </a:defRPr>
              </a:lvl7pPr>
              <a:lvl8pPr eaLnBrk="0" hangingPunct="0">
                <a:defRPr sz="1200">
                  <a:solidFill>
                    <a:schemeClr val="tx1"/>
                  </a:solidFill>
                  <a:latin typeface="Arial Narrow" pitchFamily="34" charset="0"/>
                  <a:ea typeface="ＭＳ Ｐゴシック" pitchFamily="34" charset="-128"/>
                </a:defRPr>
              </a:lvl8pPr>
              <a:lvl9pPr eaLnBrk="0" hangingPunct="0">
                <a:defRPr sz="1200">
                  <a:solidFill>
                    <a:schemeClr val="tx1"/>
                  </a:solidFill>
                  <a:latin typeface="Arial Narrow" pitchFamily="34" charset="0"/>
                  <a:ea typeface="ＭＳ Ｐゴシック" pitchFamily="34" charset="-128"/>
                </a:defRPr>
              </a:lvl9pPr>
            </a:lstStyle>
            <a:p>
              <a:pPr algn="ctr" defTabSz="320954">
                <a:defRPr/>
              </a:pPr>
              <a:r>
                <a:rPr lang="zh-CN" altLang="en-US" sz="1260" dirty="0">
                  <a:solidFill>
                    <a:schemeClr val="tx1">
                      <a:lumMod val="50000"/>
                    </a:schemeClr>
                  </a:solidFill>
                  <a:latin typeface="Arial" charset="0"/>
                </a:rPr>
                <a:t>批改作业和评分</a:t>
              </a:r>
              <a:endParaRPr lang="en-US" altLang="en-US" sz="1260" dirty="0">
                <a:solidFill>
                  <a:schemeClr val="tx1">
                    <a:lumMod val="50000"/>
                  </a:schemeClr>
                </a:solidFill>
                <a:latin typeface="Arial" charset="0"/>
              </a:endParaRPr>
            </a:p>
          </p:txBody>
        </p:sp>
        <p:sp>
          <p:nvSpPr>
            <p:cNvPr id="15372" name="TextBox 130">
              <a:extLst>
                <a:ext uri="{FF2B5EF4-FFF2-40B4-BE49-F238E27FC236}">
                  <a16:creationId xmlns:a16="http://schemas.microsoft.com/office/drawing/2014/main" id="{3FAB1703-A2AF-4DB2-877E-C41D40F99192}"/>
                </a:ext>
              </a:extLst>
            </p:cNvPr>
            <p:cNvSpPr txBox="1">
              <a:spLocks noChangeArrowheads="1"/>
            </p:cNvSpPr>
            <p:nvPr/>
          </p:nvSpPr>
          <p:spPr bwMode="auto">
            <a:xfrm>
              <a:off x="-230248" y="3988087"/>
              <a:ext cx="2730842"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检索、发现、阅读、评审</a:t>
              </a:r>
              <a:endParaRPr lang="en-US" altLang="en-US" sz="1260">
                <a:solidFill>
                  <a:srgbClr val="000000"/>
                </a:solidFill>
              </a:endParaRPr>
            </a:p>
          </p:txBody>
        </p:sp>
        <p:sp>
          <p:nvSpPr>
            <p:cNvPr id="15373" name="TextBox 132">
              <a:extLst>
                <a:ext uri="{FF2B5EF4-FFF2-40B4-BE49-F238E27FC236}">
                  <a16:creationId xmlns:a16="http://schemas.microsoft.com/office/drawing/2014/main" id="{759018DF-2426-4991-A6D4-C6EB8B9EAFCA}"/>
                </a:ext>
              </a:extLst>
            </p:cNvPr>
            <p:cNvSpPr txBox="1">
              <a:spLocks noChangeArrowheads="1"/>
            </p:cNvSpPr>
            <p:nvPr/>
          </p:nvSpPr>
          <p:spPr bwMode="auto">
            <a:xfrm>
              <a:off x="1225052" y="2365713"/>
              <a:ext cx="1416050" cy="749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dirty="0">
                  <a:solidFill>
                    <a:srgbClr val="000000"/>
                  </a:solidFill>
                </a:rPr>
                <a:t>合作</a:t>
              </a:r>
              <a:r>
                <a:rPr lang="en-US" altLang="en-US" sz="1260" dirty="0">
                  <a:solidFill>
                    <a:srgbClr val="000000"/>
                  </a:solidFill>
                </a:rPr>
                <a:t> &amp;  </a:t>
              </a:r>
              <a:r>
                <a:rPr lang="zh-CN" altLang="en-US" sz="1260" dirty="0">
                  <a:solidFill>
                    <a:srgbClr val="000000"/>
                  </a:solidFill>
                </a:rPr>
                <a:t>社交</a:t>
              </a:r>
              <a:endParaRPr lang="en-US" altLang="en-US" sz="1260" dirty="0">
                <a:solidFill>
                  <a:srgbClr val="000000"/>
                </a:solidFill>
              </a:endParaRPr>
            </a:p>
          </p:txBody>
        </p:sp>
        <p:sp>
          <p:nvSpPr>
            <p:cNvPr id="15374" name="TextBox 133">
              <a:extLst>
                <a:ext uri="{FF2B5EF4-FFF2-40B4-BE49-F238E27FC236}">
                  <a16:creationId xmlns:a16="http://schemas.microsoft.com/office/drawing/2014/main" id="{F86F4F42-0E5C-436D-AE76-8270DD598A56}"/>
                </a:ext>
              </a:extLst>
            </p:cNvPr>
            <p:cNvSpPr txBox="1">
              <a:spLocks noChangeArrowheads="1"/>
            </p:cNvSpPr>
            <p:nvPr/>
          </p:nvSpPr>
          <p:spPr bwMode="auto">
            <a:xfrm>
              <a:off x="2191044" y="3961670"/>
              <a:ext cx="15890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实验</a:t>
              </a:r>
              <a:endParaRPr lang="en-US" altLang="en-US" sz="1260">
                <a:solidFill>
                  <a:srgbClr val="000000"/>
                </a:solidFill>
              </a:endParaRPr>
            </a:p>
          </p:txBody>
        </p:sp>
        <p:sp>
          <p:nvSpPr>
            <p:cNvPr id="15375" name="Rectangle 11">
              <a:extLst>
                <a:ext uri="{FF2B5EF4-FFF2-40B4-BE49-F238E27FC236}">
                  <a16:creationId xmlns:a16="http://schemas.microsoft.com/office/drawing/2014/main" id="{54A946AC-7C9F-4832-B077-B91F264153F1}"/>
                </a:ext>
              </a:extLst>
            </p:cNvPr>
            <p:cNvSpPr>
              <a:spLocks noChangeArrowheads="1"/>
            </p:cNvSpPr>
            <p:nvPr/>
          </p:nvSpPr>
          <p:spPr bwMode="auto">
            <a:xfrm>
              <a:off x="2797091" y="2377587"/>
              <a:ext cx="207365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整合</a:t>
              </a:r>
              <a:r>
                <a:rPr lang="en-US" altLang="en-US" sz="1260">
                  <a:solidFill>
                    <a:srgbClr val="000000"/>
                  </a:solidFill>
                </a:rPr>
                <a:t> &amp; </a:t>
              </a:r>
              <a:r>
                <a:rPr lang="zh-CN" altLang="en-US" sz="1260">
                  <a:solidFill>
                    <a:srgbClr val="000000"/>
                  </a:solidFill>
                </a:rPr>
                <a:t>分析</a:t>
              </a:r>
              <a:endParaRPr lang="en-US" altLang="en-US" sz="1260">
                <a:solidFill>
                  <a:srgbClr val="A6A6A6"/>
                </a:solidFill>
              </a:endParaRPr>
            </a:p>
          </p:txBody>
        </p:sp>
        <p:sp>
          <p:nvSpPr>
            <p:cNvPr id="13" name="Rounded Rectangle 23">
              <a:extLst>
                <a:ext uri="{FF2B5EF4-FFF2-40B4-BE49-F238E27FC236}">
                  <a16:creationId xmlns:a16="http://schemas.microsoft.com/office/drawing/2014/main" id="{30A6B876-C094-4413-82F4-F21D1619B156}"/>
                </a:ext>
              </a:extLst>
            </p:cNvPr>
            <p:cNvSpPr/>
            <p:nvPr/>
          </p:nvSpPr>
          <p:spPr bwMode="auto">
            <a:xfrm>
              <a:off x="4843325" y="2902180"/>
              <a:ext cx="3716555" cy="1047806"/>
            </a:xfrm>
            <a:prstGeom prst="roundRect">
              <a:avLst/>
            </a:prstGeom>
            <a:noFill/>
            <a:ln w="38100">
              <a:solidFill>
                <a:schemeClr val="tx2"/>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defTabSz="320954">
                <a:lnSpc>
                  <a:spcPct val="130000"/>
                </a:lnSpc>
                <a:buClr>
                  <a:srgbClr val="FF9933"/>
                </a:buClr>
                <a:defRPr/>
              </a:pPr>
              <a:endParaRPr lang="en-US" sz="1620" dirty="0" err="1"/>
            </a:p>
          </p:txBody>
        </p:sp>
        <p:pic>
          <p:nvPicPr>
            <p:cNvPr id="15377" name="Picture 6">
              <a:extLst>
                <a:ext uri="{FF2B5EF4-FFF2-40B4-BE49-F238E27FC236}">
                  <a16:creationId xmlns:a16="http://schemas.microsoft.com/office/drawing/2014/main" id="{4D2E06F5-70E8-4F59-BC74-07C20F2D7C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7457" y="3019786"/>
              <a:ext cx="552419"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78" name="Picture 7">
              <a:extLst>
                <a:ext uri="{FF2B5EF4-FFF2-40B4-BE49-F238E27FC236}">
                  <a16:creationId xmlns:a16="http://schemas.microsoft.com/office/drawing/2014/main" id="{34FD74B1-BEF7-4A84-AEEF-A90044ADBA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1946" y="3064718"/>
              <a:ext cx="529936"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79" name="Picture 8">
              <a:extLst>
                <a:ext uri="{FF2B5EF4-FFF2-40B4-BE49-F238E27FC236}">
                  <a16:creationId xmlns:a16="http://schemas.microsoft.com/office/drawing/2014/main" id="{09D2AD55-7AAC-4C8A-9D79-C8958CBA93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77399" y="3069897"/>
              <a:ext cx="421005"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0" name="Picture 9">
              <a:extLst>
                <a:ext uri="{FF2B5EF4-FFF2-40B4-BE49-F238E27FC236}">
                  <a16:creationId xmlns:a16="http://schemas.microsoft.com/office/drawing/2014/main" id="{20698126-A332-4710-B203-20066FBB52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98882" y="3009554"/>
              <a:ext cx="615659" cy="787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1" name="Picture 2">
              <a:extLst>
                <a:ext uri="{FF2B5EF4-FFF2-40B4-BE49-F238E27FC236}">
                  <a16:creationId xmlns:a16="http://schemas.microsoft.com/office/drawing/2014/main" id="{CD6664BF-C10B-46D3-8FE4-C4888F0E4D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9054" y="3042668"/>
              <a:ext cx="575144" cy="76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2" name="Picture 3">
              <a:extLst>
                <a:ext uri="{FF2B5EF4-FFF2-40B4-BE49-F238E27FC236}">
                  <a16:creationId xmlns:a16="http://schemas.microsoft.com/office/drawing/2014/main" id="{7A0E31D5-93B5-447A-952F-2F5BC63324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0401" y="3042668"/>
              <a:ext cx="636597"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3" name="Picture 4">
              <a:extLst>
                <a:ext uri="{FF2B5EF4-FFF2-40B4-BE49-F238E27FC236}">
                  <a16:creationId xmlns:a16="http://schemas.microsoft.com/office/drawing/2014/main" id="{12BCA942-E677-4234-B76C-AAE9DF9B633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49242" y="3042668"/>
              <a:ext cx="481760"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4" name="Picture 5">
              <a:extLst>
                <a:ext uri="{FF2B5EF4-FFF2-40B4-BE49-F238E27FC236}">
                  <a16:creationId xmlns:a16="http://schemas.microsoft.com/office/drawing/2014/main" id="{27BB4A56-AB19-4F62-B272-4C2F8F0AE4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48114" y="3042668"/>
              <a:ext cx="473103"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ounded Rectangle 33">
              <a:extLst>
                <a:ext uri="{FF2B5EF4-FFF2-40B4-BE49-F238E27FC236}">
                  <a16:creationId xmlns:a16="http://schemas.microsoft.com/office/drawing/2014/main" id="{9424A91C-C384-4B7F-AB15-A46958CAFA2A}"/>
                </a:ext>
              </a:extLst>
            </p:cNvPr>
            <p:cNvSpPr/>
            <p:nvPr/>
          </p:nvSpPr>
          <p:spPr bwMode="auto">
            <a:xfrm>
              <a:off x="614078" y="2906639"/>
              <a:ext cx="3718460" cy="1047806"/>
            </a:xfrm>
            <a:prstGeom prst="roundRect">
              <a:avLst/>
            </a:prstGeom>
            <a:noFill/>
            <a:ln w="38100">
              <a:solidFill>
                <a:schemeClr val="tx2"/>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defTabSz="320954">
                <a:lnSpc>
                  <a:spcPct val="130000"/>
                </a:lnSpc>
                <a:buClr>
                  <a:srgbClr val="FF9933"/>
                </a:buClr>
                <a:defRPr/>
              </a:pPr>
              <a:endParaRPr lang="en-US" sz="1620" dirty="0" err="1"/>
            </a:p>
          </p:txBody>
        </p:sp>
      </p:grpSp>
      <p:sp>
        <p:nvSpPr>
          <p:cNvPr id="24" name="TextBox 3">
            <a:extLst>
              <a:ext uri="{FF2B5EF4-FFF2-40B4-BE49-F238E27FC236}">
                <a16:creationId xmlns:a16="http://schemas.microsoft.com/office/drawing/2014/main" id="{58CA5699-C555-4F63-96C2-DDFAB53BC142}"/>
              </a:ext>
            </a:extLst>
          </p:cNvPr>
          <p:cNvSpPr txBox="1"/>
          <p:nvPr/>
        </p:nvSpPr>
        <p:spPr>
          <a:xfrm>
            <a:off x="5102010" y="2936082"/>
            <a:ext cx="3636069" cy="1467344"/>
          </a:xfrm>
          <a:prstGeom prst="rect">
            <a:avLst/>
          </a:prstGeom>
          <a:ln>
            <a:headEnd/>
            <a:tailEnd/>
          </a:ln>
        </p:spPr>
        <p:style>
          <a:lnRef idx="1">
            <a:schemeClr val="dk1"/>
          </a:lnRef>
          <a:fillRef idx="2">
            <a:schemeClr val="dk1"/>
          </a:fillRef>
          <a:effectRef idx="1">
            <a:schemeClr val="dk1"/>
          </a:effectRef>
          <a:fontRef idx="minor">
            <a:schemeClr val="dk1"/>
          </a:fontRef>
        </p:style>
        <p:txBody>
          <a:bodyPr anchor="ctr"/>
          <a:lstStyle>
            <a:lvl1pPr marL="233363" indent="-123825">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57200" indent="-190500">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144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716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8288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defTabSz="822960">
              <a:spcBef>
                <a:spcPct val="0"/>
              </a:spcBef>
              <a:buClr>
                <a:schemeClr val="tx1"/>
              </a:buClr>
              <a:defRPr/>
            </a:pPr>
            <a:r>
              <a:rPr lang="zh-CN" altLang="en-US" sz="1260" dirty="0">
                <a:solidFill>
                  <a:schemeClr val="tx1"/>
                </a:solidFill>
              </a:rPr>
              <a:t>我如何让学生参与</a:t>
            </a:r>
            <a:r>
              <a:rPr lang="en-US" altLang="zh-CN" sz="1260" dirty="0">
                <a:solidFill>
                  <a:schemeClr val="tx1"/>
                </a:solidFill>
              </a:rPr>
              <a:t>/</a:t>
            </a:r>
            <a:r>
              <a:rPr lang="zh-CN" altLang="en-US" sz="1260" dirty="0">
                <a:solidFill>
                  <a:schemeClr val="tx1"/>
                </a:solidFill>
              </a:rPr>
              <a:t>感兴趣？</a:t>
            </a:r>
          </a:p>
          <a:p>
            <a:pPr defTabSz="822960">
              <a:spcBef>
                <a:spcPct val="0"/>
              </a:spcBef>
              <a:buClr>
                <a:schemeClr val="tx1"/>
              </a:buClr>
              <a:defRPr/>
            </a:pPr>
            <a:r>
              <a:rPr lang="zh-CN" altLang="en-US" sz="1260" dirty="0">
                <a:solidFill>
                  <a:schemeClr val="tx1"/>
                </a:solidFill>
              </a:rPr>
              <a:t>我如何确保学生使用可信的信息来源？</a:t>
            </a:r>
          </a:p>
          <a:p>
            <a:pPr defTabSz="822960">
              <a:spcBef>
                <a:spcPct val="0"/>
              </a:spcBef>
              <a:buClr>
                <a:schemeClr val="tx1"/>
              </a:buClr>
              <a:defRPr/>
            </a:pPr>
            <a:r>
              <a:rPr lang="zh-CN" altLang="en-US" sz="1260" dirty="0">
                <a:solidFill>
                  <a:schemeClr val="tx1"/>
                </a:solidFill>
              </a:rPr>
              <a:t>我如何教导学生写一篇成功的研究论文？</a:t>
            </a:r>
          </a:p>
          <a:p>
            <a:pPr defTabSz="822960">
              <a:spcBef>
                <a:spcPct val="0"/>
              </a:spcBef>
              <a:buClr>
                <a:schemeClr val="tx1"/>
              </a:buClr>
              <a:defRPr/>
            </a:pPr>
            <a:r>
              <a:rPr lang="zh-CN" altLang="en-US" sz="1260" dirty="0">
                <a:solidFill>
                  <a:schemeClr val="tx1"/>
                </a:solidFill>
              </a:rPr>
              <a:t>我如何教导学生解决实际的开放式问题？</a:t>
            </a:r>
          </a:p>
          <a:p>
            <a:pPr defTabSz="822960">
              <a:spcBef>
                <a:spcPct val="0"/>
              </a:spcBef>
              <a:buClr>
                <a:schemeClr val="tx1"/>
              </a:buClr>
              <a:defRPr/>
            </a:pPr>
            <a:r>
              <a:rPr lang="zh-CN" altLang="en-US" sz="1260" dirty="0">
                <a:solidFill>
                  <a:schemeClr val="tx1"/>
                </a:solidFill>
              </a:rPr>
              <a:t>我如何为我的学生准备工作场所？</a:t>
            </a:r>
            <a:endParaRPr lang="en-US" altLang="en-US" sz="1260" dirty="0">
              <a:solidFill>
                <a:schemeClr val="tx1"/>
              </a:solidFill>
              <a:ea typeface="黑体" panose="02010609060101010101" pitchFamily="49" charset="-122"/>
            </a:endParaRPr>
          </a:p>
        </p:txBody>
      </p:sp>
      <p:sp>
        <p:nvSpPr>
          <p:cNvPr id="25" name="TextBox 46">
            <a:extLst>
              <a:ext uri="{FF2B5EF4-FFF2-40B4-BE49-F238E27FC236}">
                <a16:creationId xmlns:a16="http://schemas.microsoft.com/office/drawing/2014/main" id="{622D8A10-E083-4165-BF87-692CBCA1F242}"/>
              </a:ext>
            </a:extLst>
          </p:cNvPr>
          <p:cNvSpPr txBox="1">
            <a:spLocks noChangeArrowheads="1"/>
          </p:cNvSpPr>
          <p:nvPr/>
        </p:nvSpPr>
        <p:spPr bwMode="auto">
          <a:xfrm>
            <a:off x="753036" y="2936082"/>
            <a:ext cx="3797534" cy="1467344"/>
          </a:xfrm>
          <a:prstGeom prst="rect">
            <a:avLst/>
          </a:prstGeom>
          <a:ln/>
        </p:spPr>
        <p:style>
          <a:lnRef idx="1">
            <a:schemeClr val="accent2"/>
          </a:lnRef>
          <a:fillRef idx="2">
            <a:schemeClr val="accent2"/>
          </a:fillRef>
          <a:effectRef idx="1">
            <a:schemeClr val="accent2"/>
          </a:effectRef>
          <a:fontRef idx="minor">
            <a:schemeClr val="dk1"/>
          </a:fontRef>
        </p:style>
        <p:txBody>
          <a:bodyPr lIns="0" rIns="0" anchor="ctr"/>
          <a:lstStyle>
            <a:lvl1pPr marL="233363" indent="-123825">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57200" indent="-190500">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144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716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8288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defTabSz="822960">
              <a:lnSpc>
                <a:spcPts val="1418"/>
              </a:lnSpc>
              <a:spcBef>
                <a:spcPct val="0"/>
              </a:spcBef>
              <a:buClr>
                <a:schemeClr val="tx1"/>
              </a:buClr>
              <a:defRPr/>
            </a:pPr>
            <a:r>
              <a:rPr lang="zh-CN" altLang="en-US" sz="1260" dirty="0">
                <a:solidFill>
                  <a:schemeClr val="tx1"/>
                </a:solidFill>
              </a:rPr>
              <a:t>什么是最新的趋势和技术</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研究之前有做过吗？</a:t>
            </a:r>
            <a:endParaRPr lang="en-US" altLang="zh-CN" sz="1260" dirty="0">
              <a:solidFill>
                <a:schemeClr val="tx1"/>
              </a:solidFill>
            </a:endParaRPr>
          </a:p>
          <a:p>
            <a:pPr defTabSz="822960">
              <a:lnSpc>
                <a:spcPts val="1418"/>
              </a:lnSpc>
              <a:spcBef>
                <a:spcPct val="0"/>
              </a:spcBef>
              <a:buClr>
                <a:schemeClr val="tx1"/>
              </a:buClr>
              <a:defRPr/>
            </a:pPr>
            <a:r>
              <a:rPr lang="zh-CN" altLang="en-US" sz="1260" dirty="0">
                <a:solidFill>
                  <a:schemeClr val="tx1"/>
                </a:solidFill>
              </a:rPr>
              <a:t>我有哪些新的研究机会？</a:t>
            </a:r>
            <a:endParaRPr lang="en-US" altLang="zh-CN" sz="1260" dirty="0">
              <a:solidFill>
                <a:schemeClr val="tx1"/>
              </a:solidFill>
            </a:endParaRPr>
          </a:p>
          <a:p>
            <a:pPr defTabSz="822960">
              <a:lnSpc>
                <a:spcPts val="1418"/>
              </a:lnSpc>
              <a:spcBef>
                <a:spcPct val="0"/>
              </a:spcBef>
              <a:buClr>
                <a:schemeClr val="tx1"/>
              </a:buClr>
              <a:defRPr/>
            </a:pPr>
            <a:r>
              <a:rPr lang="zh-CN" altLang="en-US" sz="1260" dirty="0">
                <a:solidFill>
                  <a:schemeClr val="tx1"/>
                </a:solidFill>
              </a:rPr>
              <a:t>我的同行在做什么</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我如何写一个成功地投资提案</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我如何监控我的竞争对手</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如何找到我的合作伙伴</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如何快速获取我不熟悉领域的背景知识</a:t>
            </a:r>
            <a:r>
              <a:rPr lang="en-US" altLang="en-US" sz="1260" dirty="0">
                <a:solidFill>
                  <a:schemeClr val="tx1"/>
                </a:solidFill>
                <a:ea typeface="黑体" panose="02010609060101010101" pitchFamily="49" charset="-122"/>
              </a:rPr>
              <a:t>?</a:t>
            </a:r>
          </a:p>
        </p:txBody>
      </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8535"/>
            <a:ext cx="9144000" cy="4469730"/>
          </a:xfrm>
          <a:prstGeom prst="rect">
            <a:avLst/>
          </a:prstGeom>
        </p:spPr>
      </p:pic>
      <p:sp>
        <p:nvSpPr>
          <p:cNvPr id="13" name="Rectangle 12"/>
          <p:cNvSpPr/>
          <p:nvPr/>
        </p:nvSpPr>
        <p:spPr>
          <a:xfrm>
            <a:off x="1238076" y="148728"/>
            <a:ext cx="6858000" cy="415498"/>
          </a:xfrm>
          <a:prstGeom prst="rect">
            <a:avLst/>
          </a:prstGeom>
        </p:spPr>
        <p:txBody>
          <a:bodyPr wrap="square">
            <a:spAutoFit/>
          </a:bodyPr>
          <a:lstStyle/>
          <a:p>
            <a:r>
              <a:rPr lang="zh-CN" altLang="en-US" sz="2100" b="1" dirty="0">
                <a:solidFill>
                  <a:srgbClr val="53565A"/>
                </a:solidFill>
                <a:latin typeface="黑体" panose="02010609060101010101" pitchFamily="49" charset="-122"/>
                <a:ea typeface="黑体" panose="02010609060101010101" pitchFamily="49" charset="-122"/>
              </a:rPr>
              <a:t>而在</a:t>
            </a:r>
            <a:r>
              <a:rPr lang="en-US" altLang="zh-CN" sz="2025" b="1" dirty="0">
                <a:solidFill>
                  <a:srgbClr val="53565A"/>
                </a:solidFill>
              </a:rPr>
              <a:t>Engineering Village</a:t>
            </a:r>
            <a:r>
              <a:rPr lang="zh-CN" altLang="en-US" sz="2100" b="1" dirty="0">
                <a:solidFill>
                  <a:srgbClr val="53565A"/>
                </a:solidFill>
                <a:latin typeface="黑体" panose="02010609060101010101" pitchFamily="49" charset="-122"/>
                <a:ea typeface="黑体" panose="02010609060101010101" pitchFamily="49" charset="-122"/>
              </a:rPr>
              <a:t>上的</a:t>
            </a:r>
            <a:r>
              <a:rPr lang="en-US" altLang="zh-CN" sz="2025" b="1" dirty="0" err="1">
                <a:solidFill>
                  <a:srgbClr val="53565A"/>
                </a:solidFill>
              </a:rPr>
              <a:t>Ei</a:t>
            </a:r>
            <a:r>
              <a:rPr lang="en-US" altLang="zh-CN" sz="2025" b="1" dirty="0">
                <a:solidFill>
                  <a:srgbClr val="53565A"/>
                </a:solidFill>
              </a:rPr>
              <a:t> </a:t>
            </a:r>
            <a:r>
              <a:rPr lang="en-US" altLang="zh-CN" sz="2025" b="1" dirty="0" err="1">
                <a:solidFill>
                  <a:srgbClr val="53565A"/>
                </a:solidFill>
              </a:rPr>
              <a:t>Compendex</a:t>
            </a:r>
            <a:r>
              <a:rPr lang="en-US" sz="2025" b="1" dirty="0">
                <a:solidFill>
                  <a:srgbClr val="53565A"/>
                </a:solidFill>
              </a:rPr>
              <a:t>…</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46762" y="4823039"/>
            <a:ext cx="1091331" cy="123215"/>
          </a:xfrm>
          <a:prstGeom prst="rect">
            <a:avLst/>
          </a:prstGeom>
        </p:spPr>
      </p:pic>
      <p:grpSp>
        <p:nvGrpSpPr>
          <p:cNvPr id="16" name="Group 15"/>
          <p:cNvGrpSpPr/>
          <p:nvPr/>
        </p:nvGrpSpPr>
        <p:grpSpPr>
          <a:xfrm>
            <a:off x="5250266" y="1195627"/>
            <a:ext cx="3893734" cy="1625210"/>
            <a:chOff x="4501774" y="1447229"/>
            <a:chExt cx="4724322" cy="2166947"/>
          </a:xfrm>
        </p:grpSpPr>
        <p:sp>
          <p:nvSpPr>
            <p:cNvPr id="19" name="Rectangle 18"/>
            <p:cNvSpPr/>
            <p:nvPr/>
          </p:nvSpPr>
          <p:spPr>
            <a:xfrm>
              <a:off x="4501774" y="1447229"/>
              <a:ext cx="4724322" cy="2166947"/>
            </a:xfrm>
            <a:custGeom>
              <a:avLst/>
              <a:gdLst>
                <a:gd name="connsiteX0" fmla="*/ 0 w 1280160"/>
                <a:gd name="connsiteY0" fmla="*/ 0 h 533400"/>
                <a:gd name="connsiteX1" fmla="*/ 1280160 w 1280160"/>
                <a:gd name="connsiteY1" fmla="*/ 0 h 533400"/>
                <a:gd name="connsiteX2" fmla="*/ 1280160 w 1280160"/>
                <a:gd name="connsiteY2" fmla="*/ 533400 h 533400"/>
                <a:gd name="connsiteX3" fmla="*/ 0 w 1280160"/>
                <a:gd name="connsiteY3" fmla="*/ 533400 h 533400"/>
                <a:gd name="connsiteX4" fmla="*/ 0 w 1280160"/>
                <a:gd name="connsiteY4" fmla="*/ 0 h 533400"/>
                <a:gd name="connsiteX0" fmla="*/ 0 w 1288107"/>
                <a:gd name="connsiteY0" fmla="*/ 0 h 533400"/>
                <a:gd name="connsiteX1" fmla="*/ 1280160 w 1288107"/>
                <a:gd name="connsiteY1" fmla="*/ 0 h 533400"/>
                <a:gd name="connsiteX2" fmla="*/ 1288107 w 1288107"/>
                <a:gd name="connsiteY2" fmla="*/ 266699 h 533400"/>
                <a:gd name="connsiteX3" fmla="*/ 1280160 w 1288107"/>
                <a:gd name="connsiteY3" fmla="*/ 533400 h 533400"/>
                <a:gd name="connsiteX4" fmla="*/ 0 w 1288107"/>
                <a:gd name="connsiteY4" fmla="*/ 533400 h 533400"/>
                <a:gd name="connsiteX5" fmla="*/ 0 w 1288107"/>
                <a:gd name="connsiteY5" fmla="*/ 0 h 533400"/>
                <a:gd name="connsiteX0" fmla="*/ 0 w 1535757"/>
                <a:gd name="connsiteY0" fmla="*/ 0 h 533400"/>
                <a:gd name="connsiteX1" fmla="*/ 1280160 w 1535757"/>
                <a:gd name="connsiteY1" fmla="*/ 0 h 533400"/>
                <a:gd name="connsiteX2" fmla="*/ 1535757 w 1535757"/>
                <a:gd name="connsiteY2" fmla="*/ 276224 h 533400"/>
                <a:gd name="connsiteX3" fmla="*/ 1280160 w 1535757"/>
                <a:gd name="connsiteY3" fmla="*/ 533400 h 533400"/>
                <a:gd name="connsiteX4" fmla="*/ 0 w 1535757"/>
                <a:gd name="connsiteY4" fmla="*/ 533400 h 533400"/>
                <a:gd name="connsiteX5" fmla="*/ 0 w 1535757"/>
                <a:gd name="connsiteY5" fmla="*/ 0 h 533400"/>
                <a:gd name="connsiteX0" fmla="*/ 133004 w 1668761"/>
                <a:gd name="connsiteY0" fmla="*/ 0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133004 w 1668761"/>
                <a:gd name="connsiteY5" fmla="*/ 0 h 533400"/>
                <a:gd name="connsiteX0" fmla="*/ 0 w 1668761"/>
                <a:gd name="connsiteY0" fmla="*/ 8313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0 w 1668761"/>
                <a:gd name="connsiteY5" fmla="*/ 8313 h 533400"/>
                <a:gd name="connsiteX0" fmla="*/ 0 w 1413164"/>
                <a:gd name="connsiteY0" fmla="*/ 8313 h 533400"/>
                <a:gd name="connsiteX1" fmla="*/ 1413164 w 1413164"/>
                <a:gd name="connsiteY1" fmla="*/ 0 h 533400"/>
                <a:gd name="connsiteX2" fmla="*/ 1413164 w 1413164"/>
                <a:gd name="connsiteY2" fmla="*/ 533400 h 533400"/>
                <a:gd name="connsiteX3" fmla="*/ 0 w 1413164"/>
                <a:gd name="connsiteY3" fmla="*/ 533400 h 533400"/>
                <a:gd name="connsiteX4" fmla="*/ 0 w 1413164"/>
                <a:gd name="connsiteY4" fmla="*/ 8313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64" h="533400">
                  <a:moveTo>
                    <a:pt x="0" y="8313"/>
                  </a:moveTo>
                  <a:lnTo>
                    <a:pt x="1413164" y="0"/>
                  </a:lnTo>
                  <a:lnTo>
                    <a:pt x="1413164" y="533400"/>
                  </a:lnTo>
                  <a:lnTo>
                    <a:pt x="0" y="533400"/>
                  </a:lnTo>
                  <a:lnTo>
                    <a:pt x="0" y="8313"/>
                  </a:lnTo>
                  <a:close/>
                </a:path>
              </a:pathLst>
            </a:custGeom>
            <a:solidFill>
              <a:srgbClr val="FF82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342900"/>
              <a:endParaRPr lang="en-US" sz="1200" b="1" dirty="0">
                <a:solidFill>
                  <a:prstClr val="white"/>
                </a:solidFill>
              </a:endParaRPr>
            </a:p>
          </p:txBody>
        </p:sp>
        <p:sp>
          <p:nvSpPr>
            <p:cNvPr id="20" name="Rectangle 19"/>
            <p:cNvSpPr/>
            <p:nvPr/>
          </p:nvSpPr>
          <p:spPr>
            <a:xfrm>
              <a:off x="4668940" y="1763677"/>
              <a:ext cx="4314637" cy="1138774"/>
            </a:xfrm>
            <a:prstGeom prst="rect">
              <a:avLst/>
            </a:prstGeom>
          </p:spPr>
          <p:txBody>
            <a:bodyPr wrap="square">
              <a:spAutoFit/>
            </a:bodyPr>
            <a:lstStyle/>
            <a:p>
              <a:pPr defTabSz="342900"/>
              <a:r>
                <a:rPr lang="zh-CN" altLang="en-US" sz="1650" dirty="0">
                  <a:solidFill>
                    <a:prstClr val="white"/>
                  </a:solidFill>
                  <a:latin typeface="黑体" panose="02010609060101010101" pitchFamily="49" charset="-122"/>
                  <a:ea typeface="黑体" panose="02010609060101010101" pitchFamily="49" charset="-122"/>
                </a:rPr>
                <a:t>工程师只需通过叙词表中的</a:t>
              </a:r>
              <a:r>
                <a:rPr lang="en-US" sz="1500" dirty="0">
                  <a:solidFill>
                    <a:prstClr val="white"/>
                  </a:solidFill>
                </a:rPr>
                <a:t> </a:t>
              </a:r>
              <a:r>
                <a:rPr lang="en-US" sz="1500" b="1" dirty="0">
                  <a:solidFill>
                    <a:prstClr val="white"/>
                  </a:solidFill>
                </a:rPr>
                <a:t>“Secondary batteries”</a:t>
              </a:r>
              <a:r>
                <a:rPr lang="zh-CN" altLang="en-US" sz="1650" dirty="0">
                  <a:solidFill>
                    <a:prstClr val="white"/>
                  </a:solidFill>
                  <a:latin typeface="黑体" panose="02010609060101010101" pitchFamily="49" charset="-122"/>
                  <a:ea typeface="黑体" panose="02010609060101010101" pitchFamily="49" charset="-122"/>
                </a:rPr>
                <a:t>在</a:t>
              </a:r>
              <a:r>
                <a:rPr lang="en-US" altLang="zh-CN" sz="1500" b="1" dirty="0">
                  <a:solidFill>
                    <a:prstClr val="white"/>
                  </a:solidFill>
                </a:rPr>
                <a:t>Engineering Village</a:t>
              </a:r>
              <a:r>
                <a:rPr lang="zh-CN" altLang="en-US" sz="1650" dirty="0">
                  <a:solidFill>
                    <a:prstClr val="white"/>
                  </a:solidFill>
                  <a:latin typeface="黑体" panose="02010609060101010101" pitchFamily="49" charset="-122"/>
                  <a:ea typeface="黑体" panose="02010609060101010101" pitchFamily="49" charset="-122"/>
                </a:rPr>
                <a:t>上检索所需结果</a:t>
              </a:r>
              <a:endParaRPr lang="en-US" sz="1650" dirty="0">
                <a:solidFill>
                  <a:prstClr val="white"/>
                </a:solidFill>
                <a:latin typeface="黑体" panose="02010609060101010101" pitchFamily="49" charset="-122"/>
                <a:ea typeface="黑体" panose="02010609060101010101" pitchFamily="49" charset="-122"/>
              </a:endParaRPr>
            </a:p>
          </p:txBody>
        </p:sp>
      </p:grpSp>
      <p:sp>
        <p:nvSpPr>
          <p:cNvPr id="25" name="TextBox 24"/>
          <p:cNvSpPr txBox="1"/>
          <p:nvPr/>
        </p:nvSpPr>
        <p:spPr>
          <a:xfrm rot="21032115">
            <a:off x="2641222" y="2393796"/>
            <a:ext cx="1498652" cy="854080"/>
          </a:xfrm>
          <a:prstGeom prst="rect">
            <a:avLst/>
          </a:prstGeom>
          <a:noFill/>
          <a:ln>
            <a:noFill/>
          </a:ln>
        </p:spPr>
        <p:txBody>
          <a:bodyPr wrap="square" rtlCol="0">
            <a:spAutoFit/>
          </a:bodyPr>
          <a:lstStyle/>
          <a:p>
            <a:pPr algn="ctr" defTabSz="342900"/>
            <a:r>
              <a:rPr lang="en-US" sz="4950" dirty="0">
                <a:solidFill>
                  <a:srgbClr val="FF8200"/>
                </a:solidFill>
              </a:rPr>
              <a:t>YES</a:t>
            </a:r>
          </a:p>
        </p:txBody>
      </p:sp>
      <p:pic>
        <p:nvPicPr>
          <p:cNvPr id="3" name="Picture 2"/>
          <p:cNvPicPr>
            <a:picLocks noChangeAspect="1"/>
          </p:cNvPicPr>
          <p:nvPr/>
        </p:nvPicPr>
        <p:blipFill>
          <a:blip r:embed="rId5"/>
          <a:stretch>
            <a:fillRect/>
          </a:stretch>
        </p:blipFill>
        <p:spPr>
          <a:xfrm>
            <a:off x="4597839" y="2898476"/>
            <a:ext cx="4546161" cy="2249789"/>
          </a:xfrm>
          <a:prstGeom prst="rect">
            <a:avLst/>
          </a:prstGeom>
        </p:spPr>
      </p:pic>
    </p:spTree>
    <p:extLst>
      <p:ext uri="{BB962C8B-B14F-4D97-AF65-F5344CB8AC3E}">
        <p14:creationId xmlns:p14="http://schemas.microsoft.com/office/powerpoint/2010/main" val="248531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7561BCC-087B-4BD8-9536-15E2E95B4925}"/>
              </a:ext>
            </a:extLst>
          </p:cNvPr>
          <p:cNvSpPr>
            <a:spLocks noGrp="1"/>
          </p:cNvSpPr>
          <p:nvPr>
            <p:ph type="pic" idx="1"/>
          </p:nvPr>
        </p:nvSpPr>
        <p:spPr/>
      </p:sp>
      <p:sp>
        <p:nvSpPr>
          <p:cNvPr id="3" name="Slide Number Placeholder 2">
            <a:extLst>
              <a:ext uri="{FF2B5EF4-FFF2-40B4-BE49-F238E27FC236}">
                <a16:creationId xmlns:a16="http://schemas.microsoft.com/office/drawing/2014/main" id="{008862C5-AEB2-4916-9C62-0ABFF8402808}"/>
              </a:ext>
            </a:extLst>
          </p:cNvPr>
          <p:cNvSpPr>
            <a:spLocks noGrp="1"/>
          </p:cNvSpPr>
          <p:nvPr>
            <p:ph type="sldNum" sz="quarter" idx="10"/>
          </p:nvPr>
        </p:nvSpPr>
        <p:spPr/>
        <p:txBody>
          <a:bodyPr/>
          <a:lstStyle/>
          <a:p>
            <a:r>
              <a:rPr lang="en-US">
                <a:solidFill>
                  <a:prstClr val="white"/>
                </a:solidFill>
              </a:rPr>
              <a:t>   |   </a:t>
            </a:r>
            <a:fld id="{DA15E891-66B8-4B28-AB8F-05A4B1DE573C}" type="slidenum">
              <a:rPr lang="en-US" smtClean="0">
                <a:solidFill>
                  <a:prstClr val="white"/>
                </a:solidFill>
              </a:rPr>
              <a:pPr/>
              <a:t>21</a:t>
            </a:fld>
            <a:endParaRPr lang="en-US" dirty="0">
              <a:solidFill>
                <a:prstClr val="white"/>
              </a:solidFill>
            </a:endParaRPr>
          </a:p>
        </p:txBody>
      </p:sp>
      <p:sp>
        <p:nvSpPr>
          <p:cNvPr id="4" name="Title 3">
            <a:extLst>
              <a:ext uri="{FF2B5EF4-FFF2-40B4-BE49-F238E27FC236}">
                <a16:creationId xmlns:a16="http://schemas.microsoft.com/office/drawing/2014/main" id="{7115B7ED-1FEC-4E8F-BE51-124E3E7D17C2}"/>
              </a:ext>
            </a:extLst>
          </p:cNvPr>
          <p:cNvSpPr>
            <a:spLocks noGrp="1"/>
          </p:cNvSpPr>
          <p:nvPr>
            <p:ph type="title"/>
          </p:nvPr>
        </p:nvSpPr>
        <p:spPr>
          <a:xfrm>
            <a:off x="457200" y="290699"/>
            <a:ext cx="8238319" cy="313984"/>
          </a:xfrm>
        </p:spPr>
        <p:txBody>
          <a:bodyPr/>
          <a:lstStyle/>
          <a:p>
            <a:r>
              <a:rPr lang="zh-CN" altLang="en-US" dirty="0"/>
              <a:t>叙词检索</a:t>
            </a:r>
            <a:r>
              <a:rPr lang="en-US" altLang="zh-CN" dirty="0"/>
              <a:t>Thesaurus Search</a:t>
            </a:r>
            <a:r>
              <a:rPr lang="zh-CN" altLang="en-US" dirty="0"/>
              <a:t>：迅速高效了解新领域</a:t>
            </a:r>
            <a:endParaRPr lang="en-US" dirty="0"/>
          </a:p>
        </p:txBody>
      </p:sp>
      <p:pic>
        <p:nvPicPr>
          <p:cNvPr id="5" name="Picture 4">
            <a:extLst>
              <a:ext uri="{FF2B5EF4-FFF2-40B4-BE49-F238E27FC236}">
                <a16:creationId xmlns:a16="http://schemas.microsoft.com/office/drawing/2014/main" id="{512F950C-1358-458F-85EE-A0F8EE6A95CA}"/>
              </a:ext>
            </a:extLst>
          </p:cNvPr>
          <p:cNvPicPr>
            <a:picLocks noChangeAspect="1"/>
          </p:cNvPicPr>
          <p:nvPr/>
        </p:nvPicPr>
        <p:blipFill>
          <a:blip r:embed="rId2"/>
          <a:stretch>
            <a:fillRect/>
          </a:stretch>
        </p:blipFill>
        <p:spPr>
          <a:xfrm>
            <a:off x="1075766" y="842887"/>
            <a:ext cx="6312433" cy="3550744"/>
          </a:xfrm>
          <a:prstGeom prst="rect">
            <a:avLst/>
          </a:prstGeom>
        </p:spPr>
      </p:pic>
    </p:spTree>
    <p:extLst>
      <p:ext uri="{BB962C8B-B14F-4D97-AF65-F5344CB8AC3E}">
        <p14:creationId xmlns:p14="http://schemas.microsoft.com/office/powerpoint/2010/main" val="30024686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C:\Documents and Settings\LiuK002\Desktop\Elsevier pictures\EV\New EV interface\EV_1.bmp">
            <a:extLst>
              <a:ext uri="{FF2B5EF4-FFF2-40B4-BE49-F238E27FC236}">
                <a16:creationId xmlns:a16="http://schemas.microsoft.com/office/drawing/2014/main" id="{2E4F37A1-DB61-4B6E-8EA9-1142FE3D0A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 y="-30736"/>
            <a:ext cx="9143768" cy="3872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Rectangle 3">
            <a:extLst>
              <a:ext uri="{FF2B5EF4-FFF2-40B4-BE49-F238E27FC236}">
                <a16:creationId xmlns:a16="http://schemas.microsoft.com/office/drawing/2014/main" id="{829ED988-0FA5-41D4-A02D-CD292C17C873}"/>
              </a:ext>
            </a:extLst>
          </p:cNvPr>
          <p:cNvSpPr txBox="1">
            <a:spLocks noChangeArrowheads="1"/>
          </p:cNvSpPr>
          <p:nvPr/>
        </p:nvSpPr>
        <p:spPr bwMode="auto">
          <a:xfrm>
            <a:off x="2729993" y="3426839"/>
            <a:ext cx="3714750" cy="1218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68580" bIns="68580"/>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80000"/>
              </a:lnSpc>
              <a:spcBef>
                <a:spcPct val="50000"/>
              </a:spcBef>
              <a:buFont typeface="Times" panose="02020603050405020304" pitchFamily="18" charset="0"/>
              <a:buChar char="•"/>
            </a:pPr>
            <a:r>
              <a:rPr lang="en-US" altLang="zh-TW" sz="1800" dirty="0">
                <a:latin typeface="Calibri" panose="020F0502020204030204" pitchFamily="34" charset="0"/>
                <a:ea typeface="MS PGothic" panose="020B0600070205080204" pitchFamily="34" charset="-128"/>
              </a:rPr>
              <a:t>Quick Search - </a:t>
            </a:r>
            <a:r>
              <a:rPr lang="zh-TW" altLang="en-US" sz="1800" dirty="0">
                <a:latin typeface="Calibri" panose="020F0502020204030204" pitchFamily="34" charset="0"/>
                <a:ea typeface="MS PGothic" panose="020B0600070205080204" pitchFamily="34" charset="-128"/>
              </a:rPr>
              <a:t>快速检索</a:t>
            </a:r>
          </a:p>
          <a:p>
            <a:pPr eaLnBrk="1" hangingPunct="1">
              <a:lnSpc>
                <a:spcPct val="80000"/>
              </a:lnSpc>
              <a:spcBef>
                <a:spcPct val="50000"/>
              </a:spcBef>
              <a:buFont typeface="Times" panose="02020603050405020304" pitchFamily="18" charset="0"/>
              <a:buChar char="•"/>
            </a:pPr>
            <a:r>
              <a:rPr lang="en-US" altLang="zh-TW" sz="1800" dirty="0">
                <a:latin typeface="Calibri" panose="020F0502020204030204" pitchFamily="34" charset="0"/>
                <a:ea typeface="MS PGothic" panose="020B0600070205080204" pitchFamily="34" charset="-128"/>
              </a:rPr>
              <a:t>Expert Search - </a:t>
            </a:r>
            <a:r>
              <a:rPr lang="zh-TW" altLang="en-US" sz="1800" dirty="0">
                <a:latin typeface="Calibri" panose="020F0502020204030204" pitchFamily="34" charset="0"/>
                <a:ea typeface="MS PGothic" panose="020B0600070205080204" pitchFamily="34" charset="-128"/>
              </a:rPr>
              <a:t>专家检索</a:t>
            </a:r>
          </a:p>
          <a:p>
            <a:pPr eaLnBrk="1" hangingPunct="1">
              <a:lnSpc>
                <a:spcPct val="80000"/>
              </a:lnSpc>
              <a:spcBef>
                <a:spcPct val="50000"/>
              </a:spcBef>
              <a:buFont typeface="Times" panose="02020603050405020304" pitchFamily="18" charset="0"/>
              <a:buChar char="•"/>
            </a:pPr>
            <a:r>
              <a:rPr lang="en-US" altLang="zh-TW" sz="1800" dirty="0">
                <a:latin typeface="Calibri" panose="020F0502020204030204" pitchFamily="34" charset="0"/>
                <a:ea typeface="MS PGothic" panose="020B0600070205080204" pitchFamily="34" charset="-128"/>
              </a:rPr>
              <a:t>Thesaurus search - </a:t>
            </a:r>
            <a:r>
              <a:rPr lang="zh-TW" altLang="en-US" sz="1800" dirty="0">
                <a:latin typeface="Calibri" panose="020F0502020204030204" pitchFamily="34" charset="0"/>
                <a:ea typeface="MS PGothic" panose="020B0600070205080204" pitchFamily="34" charset="-128"/>
              </a:rPr>
              <a:t>词库检索</a:t>
            </a:r>
          </a:p>
        </p:txBody>
      </p:sp>
      <p:sp>
        <p:nvSpPr>
          <p:cNvPr id="29700" name="矩形 4">
            <a:extLst>
              <a:ext uri="{FF2B5EF4-FFF2-40B4-BE49-F238E27FC236}">
                <a16:creationId xmlns:a16="http://schemas.microsoft.com/office/drawing/2014/main" id="{6D9C9812-B386-42F1-8415-A9707754A2B2}"/>
              </a:ext>
            </a:extLst>
          </p:cNvPr>
          <p:cNvSpPr>
            <a:spLocks noChangeArrowheads="1"/>
          </p:cNvSpPr>
          <p:nvPr/>
        </p:nvSpPr>
        <p:spPr bwMode="auto">
          <a:xfrm>
            <a:off x="1349845" y="3508369"/>
            <a:ext cx="1380148" cy="381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80000"/>
              </a:lnSpc>
              <a:spcBef>
                <a:spcPct val="50000"/>
              </a:spcBef>
              <a:buFont typeface="Times" panose="02020603050405020304" pitchFamily="18" charset="0"/>
              <a:buNone/>
            </a:pPr>
            <a:r>
              <a:rPr lang="zh-TW" altLang="en-US" sz="2340" b="1" dirty="0">
                <a:solidFill>
                  <a:srgbClr val="0070C0"/>
                </a:solidFill>
                <a:latin typeface="PMingLiU-ExtB" panose="02020500000000000000" pitchFamily="18" charset="-120"/>
                <a:ea typeface="PMingLiU-ExtB" panose="02020500000000000000" pitchFamily="18" charset="-120"/>
              </a:rPr>
              <a:t>检索方式</a:t>
            </a:r>
            <a:endParaRPr lang="en-US" altLang="zh-TW" sz="2340" b="1" dirty="0">
              <a:solidFill>
                <a:srgbClr val="0070C0"/>
              </a:solidFill>
              <a:latin typeface="Calibri" panose="020F0502020204030204" pitchFamily="34" charset="0"/>
              <a:ea typeface="MS PGothic" panose="020B0600070205080204" pitchFamily="34" charset="-128"/>
            </a:endParaRPr>
          </a:p>
        </p:txBody>
      </p:sp>
      <p:pic>
        <p:nvPicPr>
          <p:cNvPr id="29701" name="Picture 4" descr="C:\Documents and Settings\LiuK002\Desktop\Elsevier pictures\EV\EV_25.bmp">
            <a:extLst>
              <a:ext uri="{FF2B5EF4-FFF2-40B4-BE49-F238E27FC236}">
                <a16:creationId xmlns:a16="http://schemas.microsoft.com/office/drawing/2014/main" id="{F854419C-EAFE-48C3-977A-C46B131F94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4891" y="3610433"/>
            <a:ext cx="1111568" cy="851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標題 4">
            <a:extLst>
              <a:ext uri="{FF2B5EF4-FFF2-40B4-BE49-F238E27FC236}">
                <a16:creationId xmlns:a16="http://schemas.microsoft.com/office/drawing/2014/main" id="{A45EBE95-5F43-4681-8544-57FF8171940A}"/>
              </a:ext>
            </a:extLst>
          </p:cNvPr>
          <p:cNvSpPr>
            <a:spLocks noGrp="1"/>
          </p:cNvSpPr>
          <p:nvPr>
            <p:ph type="title" idx="4294967295"/>
          </p:nvPr>
        </p:nvSpPr>
        <p:spPr>
          <a:xfrm>
            <a:off x="1524477" y="3810477"/>
            <a:ext cx="5829300" cy="434340"/>
          </a:xfrm>
        </p:spPr>
        <p:txBody>
          <a:bodyPr rtlCol="0">
            <a:noAutofit/>
          </a:bodyPr>
          <a:lstStyle/>
          <a:p>
            <a:pPr defTabSz="342887">
              <a:defRPr/>
            </a:pPr>
            <a:r>
              <a:rPr lang="en-US" altLang="zh-TW" sz="2400">
                <a:latin typeface="Calibri" pitchFamily="34" charset="0"/>
                <a:ea typeface="PMingLiU-ExtB" pitchFamily="18" charset="-120"/>
              </a:rPr>
              <a:t>Quick Search – </a:t>
            </a:r>
            <a:r>
              <a:rPr lang="zh-TW" altLang="en-US" sz="2400">
                <a:latin typeface="Calibri" pitchFamily="34" charset="0"/>
                <a:ea typeface="PMingLiU-ExtB" pitchFamily="18" charset="-120"/>
              </a:rPr>
              <a:t>快速检索</a:t>
            </a:r>
          </a:p>
        </p:txBody>
      </p:sp>
      <p:pic>
        <p:nvPicPr>
          <p:cNvPr id="31747" name="Picture 4" descr="图片1">
            <a:extLst>
              <a:ext uri="{FF2B5EF4-FFF2-40B4-BE49-F238E27FC236}">
                <a16:creationId xmlns:a16="http://schemas.microsoft.com/office/drawing/2014/main" id="{86828600-2436-4E21-A96B-1919551977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3846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a:extLst>
              <a:ext uri="{FF2B5EF4-FFF2-40B4-BE49-F238E27FC236}">
                <a16:creationId xmlns:a16="http://schemas.microsoft.com/office/drawing/2014/main" id="{AB04D9DB-26D7-42AE-8BCE-10EEDDE50E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661" y="646051"/>
            <a:ext cx="7991738" cy="3696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35">
            <a:extLst>
              <a:ext uri="{FF2B5EF4-FFF2-40B4-BE49-F238E27FC236}">
                <a16:creationId xmlns:a16="http://schemas.microsoft.com/office/drawing/2014/main" id="{E57A503E-3908-489E-9BC3-FEF5582B6FC7}"/>
              </a:ext>
            </a:extLst>
          </p:cNvPr>
          <p:cNvGrpSpPr>
            <a:grpSpLocks/>
          </p:cNvGrpSpPr>
          <p:nvPr/>
        </p:nvGrpSpPr>
        <p:grpSpPr bwMode="auto">
          <a:xfrm>
            <a:off x="7111141" y="1108809"/>
            <a:ext cx="1038703" cy="772776"/>
            <a:chOff x="4178144" y="2540163"/>
            <a:chExt cx="1384843" cy="1029279"/>
          </a:xfrm>
        </p:grpSpPr>
        <p:grpSp>
          <p:nvGrpSpPr>
            <p:cNvPr id="33812" name="Group 21">
              <a:extLst>
                <a:ext uri="{FF2B5EF4-FFF2-40B4-BE49-F238E27FC236}">
                  <a16:creationId xmlns:a16="http://schemas.microsoft.com/office/drawing/2014/main" id="{EC139C86-C65D-4827-A06B-F2812C2B7AFC}"/>
                </a:ext>
              </a:extLst>
            </p:cNvPr>
            <p:cNvGrpSpPr>
              <a:grpSpLocks/>
            </p:cNvGrpSpPr>
            <p:nvPr/>
          </p:nvGrpSpPr>
          <p:grpSpPr bwMode="auto">
            <a:xfrm>
              <a:off x="4232576" y="2540163"/>
              <a:ext cx="1330411" cy="773054"/>
              <a:chOff x="4232576" y="2540163"/>
              <a:chExt cx="1330411" cy="773054"/>
            </a:xfrm>
          </p:grpSpPr>
          <p:sp>
            <p:nvSpPr>
              <p:cNvPr id="40996" name="Rectangle 7">
                <a:extLst>
                  <a:ext uri="{FF2B5EF4-FFF2-40B4-BE49-F238E27FC236}">
                    <a16:creationId xmlns:a16="http://schemas.microsoft.com/office/drawing/2014/main" id="{41CAA254-7520-4A2F-AF5D-958EDEF135EB}"/>
                  </a:ext>
                </a:extLst>
              </p:cNvPr>
              <p:cNvSpPr>
                <a:spLocks noChangeArrowheads="1"/>
              </p:cNvSpPr>
              <p:nvPr/>
            </p:nvSpPr>
            <p:spPr bwMode="auto">
              <a:xfrm>
                <a:off x="4233387" y="2540163"/>
                <a:ext cx="1329600" cy="392015"/>
              </a:xfrm>
              <a:prstGeom prst="rect">
                <a:avLst/>
              </a:prstGeom>
              <a:solidFill>
                <a:schemeClr val="bg1"/>
              </a:solidFill>
              <a:ln w="19050" algn="ctr">
                <a:solidFill>
                  <a:srgbClr val="FF0000"/>
                </a:solidFill>
                <a:miter lim="800000"/>
                <a:headEnd/>
                <a:tailEnd/>
              </a:ln>
            </p:spPr>
            <p:txBody>
              <a:bodyPr anchor="ctr"/>
              <a:lstStyle/>
              <a:p>
                <a:pPr defTabSz="320954">
                  <a:spcBef>
                    <a:spcPct val="50000"/>
                  </a:spcBef>
                  <a:defRPr/>
                </a:pPr>
                <a:r>
                  <a:rPr lang="zh-CN" altLang="en-US" sz="1050" dirty="0">
                    <a:latin typeface="PMingLiU-ExtB" pitchFamily="18" charset="-120"/>
                    <a:ea typeface="PMingLiU-ExtB" pitchFamily="18" charset="-120"/>
                  </a:rPr>
                  <a:t>增加检索字段</a:t>
                </a:r>
              </a:p>
            </p:txBody>
          </p:sp>
          <p:sp>
            <p:nvSpPr>
              <p:cNvPr id="40997" name="Line 9">
                <a:extLst>
                  <a:ext uri="{FF2B5EF4-FFF2-40B4-BE49-F238E27FC236}">
                    <a16:creationId xmlns:a16="http://schemas.microsoft.com/office/drawing/2014/main" id="{E4C3E8FE-2387-4A7A-AB62-2CB3EC825F18}"/>
                  </a:ext>
                </a:extLst>
              </p:cNvPr>
              <p:cNvSpPr>
                <a:spLocks noChangeShapeType="1"/>
              </p:cNvSpPr>
              <p:nvPr/>
            </p:nvSpPr>
            <p:spPr bwMode="auto">
              <a:xfrm flipH="1">
                <a:off x="4572454" y="2932178"/>
                <a:ext cx="506696" cy="380597"/>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13" name="Rectangle 7">
              <a:extLst>
                <a:ext uri="{FF2B5EF4-FFF2-40B4-BE49-F238E27FC236}">
                  <a16:creationId xmlns:a16="http://schemas.microsoft.com/office/drawing/2014/main" id="{11EE68D4-E60E-4FF9-B92E-0A7271716204}"/>
                </a:ext>
              </a:extLst>
            </p:cNvPr>
            <p:cNvSpPr>
              <a:spLocks noChangeArrowheads="1"/>
            </p:cNvSpPr>
            <p:nvPr/>
          </p:nvSpPr>
          <p:spPr bwMode="auto">
            <a:xfrm>
              <a:off x="4178144" y="3312774"/>
              <a:ext cx="1050639" cy="256668"/>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7" name="Group 32">
            <a:extLst>
              <a:ext uri="{FF2B5EF4-FFF2-40B4-BE49-F238E27FC236}">
                <a16:creationId xmlns:a16="http://schemas.microsoft.com/office/drawing/2014/main" id="{2B75145B-6973-4992-A9E2-AD894CC25273}"/>
              </a:ext>
            </a:extLst>
          </p:cNvPr>
          <p:cNvGrpSpPr>
            <a:grpSpLocks/>
          </p:cNvGrpSpPr>
          <p:nvPr/>
        </p:nvGrpSpPr>
        <p:grpSpPr bwMode="auto">
          <a:xfrm>
            <a:off x="5041931" y="150863"/>
            <a:ext cx="2225993" cy="785813"/>
            <a:chOff x="425916" y="841033"/>
            <a:chExt cx="4198790" cy="1284118"/>
          </a:xfrm>
        </p:grpSpPr>
        <p:grpSp>
          <p:nvGrpSpPr>
            <p:cNvPr id="33808" name="Group 30">
              <a:extLst>
                <a:ext uri="{FF2B5EF4-FFF2-40B4-BE49-F238E27FC236}">
                  <a16:creationId xmlns:a16="http://schemas.microsoft.com/office/drawing/2014/main" id="{D004FED6-1678-4A80-B354-C728D7E7B749}"/>
                </a:ext>
              </a:extLst>
            </p:cNvPr>
            <p:cNvGrpSpPr>
              <a:grpSpLocks/>
            </p:cNvGrpSpPr>
            <p:nvPr/>
          </p:nvGrpSpPr>
          <p:grpSpPr bwMode="auto">
            <a:xfrm>
              <a:off x="1287273" y="841033"/>
              <a:ext cx="3337433" cy="1026276"/>
              <a:chOff x="1287273" y="841033"/>
              <a:chExt cx="3337433" cy="1026276"/>
            </a:xfrm>
          </p:grpSpPr>
          <p:sp>
            <p:nvSpPr>
              <p:cNvPr id="40988" name="Rectangle 7">
                <a:extLst>
                  <a:ext uri="{FF2B5EF4-FFF2-40B4-BE49-F238E27FC236}">
                    <a16:creationId xmlns:a16="http://schemas.microsoft.com/office/drawing/2014/main" id="{4F1340BB-A412-4E1A-974A-65C7BC275457}"/>
                  </a:ext>
                </a:extLst>
              </p:cNvPr>
              <p:cNvSpPr>
                <a:spLocks noChangeArrowheads="1"/>
              </p:cNvSpPr>
              <p:nvPr/>
            </p:nvSpPr>
            <p:spPr bwMode="auto">
              <a:xfrm>
                <a:off x="1951279" y="841033"/>
                <a:ext cx="2673427" cy="471621"/>
              </a:xfrm>
              <a:prstGeom prst="rect">
                <a:avLst/>
              </a:prstGeom>
              <a:solidFill>
                <a:schemeClr val="bg1"/>
              </a:solidFill>
              <a:ln w="28575" algn="ctr">
                <a:solidFill>
                  <a:srgbClr val="FF0000"/>
                </a:solidFill>
                <a:miter lim="800000"/>
                <a:headEnd/>
                <a:tailEnd/>
              </a:ln>
            </p:spPr>
            <p:txBody>
              <a:bodyPr anchor="ctr"/>
              <a:lstStyle/>
              <a:p>
                <a:pPr defTabSz="320954">
                  <a:spcBef>
                    <a:spcPct val="50000"/>
                  </a:spcBef>
                  <a:defRPr/>
                </a:pPr>
                <a:r>
                  <a:rPr lang="zh-CN" altLang="en-US" sz="1050" dirty="0">
                    <a:latin typeface="Calibri" pitchFamily="34" charset="0"/>
                    <a:ea typeface="PMingLiU-ExtB" pitchFamily="18" charset="-120"/>
                  </a:rPr>
                  <a:t>功能列；快速检索、专家检索、词库检索</a:t>
                </a:r>
              </a:p>
            </p:txBody>
          </p:sp>
          <p:sp>
            <p:nvSpPr>
              <p:cNvPr id="40989" name="Line 9">
                <a:extLst>
                  <a:ext uri="{FF2B5EF4-FFF2-40B4-BE49-F238E27FC236}">
                    <a16:creationId xmlns:a16="http://schemas.microsoft.com/office/drawing/2014/main" id="{F3099DC0-0F0A-42E3-B632-3AFC650B9EE8}"/>
                  </a:ext>
                </a:extLst>
              </p:cNvPr>
              <p:cNvSpPr>
                <a:spLocks noChangeShapeType="1"/>
              </p:cNvSpPr>
              <p:nvPr/>
            </p:nvSpPr>
            <p:spPr bwMode="auto">
              <a:xfrm flipH="1">
                <a:off x="1288312" y="1312654"/>
                <a:ext cx="811192" cy="555673"/>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09" name="Rectangle 7">
              <a:extLst>
                <a:ext uri="{FF2B5EF4-FFF2-40B4-BE49-F238E27FC236}">
                  <a16:creationId xmlns:a16="http://schemas.microsoft.com/office/drawing/2014/main" id="{391897AD-18FE-41FA-837F-8F08C65E5271}"/>
                </a:ext>
              </a:extLst>
            </p:cNvPr>
            <p:cNvSpPr>
              <a:spLocks noChangeArrowheads="1"/>
            </p:cNvSpPr>
            <p:nvPr/>
          </p:nvSpPr>
          <p:spPr bwMode="auto">
            <a:xfrm>
              <a:off x="425916" y="1868327"/>
              <a:ext cx="1722098" cy="256824"/>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24" name="Group 32">
            <a:extLst>
              <a:ext uri="{FF2B5EF4-FFF2-40B4-BE49-F238E27FC236}">
                <a16:creationId xmlns:a16="http://schemas.microsoft.com/office/drawing/2014/main" id="{632E75FA-A658-4485-BC09-5A467E300A68}"/>
              </a:ext>
            </a:extLst>
          </p:cNvPr>
          <p:cNvGrpSpPr>
            <a:grpSpLocks/>
          </p:cNvGrpSpPr>
          <p:nvPr/>
        </p:nvGrpSpPr>
        <p:grpSpPr bwMode="auto">
          <a:xfrm>
            <a:off x="701388" y="2173802"/>
            <a:ext cx="6705506" cy="707231"/>
            <a:chOff x="1883089" y="1630943"/>
            <a:chExt cx="2534410" cy="1152035"/>
          </a:xfrm>
        </p:grpSpPr>
        <p:grpSp>
          <p:nvGrpSpPr>
            <p:cNvPr id="33804" name="Group 30">
              <a:extLst>
                <a:ext uri="{FF2B5EF4-FFF2-40B4-BE49-F238E27FC236}">
                  <a16:creationId xmlns:a16="http://schemas.microsoft.com/office/drawing/2014/main" id="{011E624A-26B3-4EA1-AFE0-D8FFB9939B4C}"/>
                </a:ext>
              </a:extLst>
            </p:cNvPr>
            <p:cNvGrpSpPr>
              <a:grpSpLocks/>
            </p:cNvGrpSpPr>
            <p:nvPr/>
          </p:nvGrpSpPr>
          <p:grpSpPr bwMode="auto">
            <a:xfrm>
              <a:off x="1900180" y="2173794"/>
              <a:ext cx="558153" cy="609184"/>
              <a:chOff x="1900180" y="2173794"/>
              <a:chExt cx="558153" cy="609184"/>
            </a:xfrm>
          </p:grpSpPr>
          <p:sp>
            <p:nvSpPr>
              <p:cNvPr id="40980" name="Rectangle 7">
                <a:extLst>
                  <a:ext uri="{FF2B5EF4-FFF2-40B4-BE49-F238E27FC236}">
                    <a16:creationId xmlns:a16="http://schemas.microsoft.com/office/drawing/2014/main" id="{588DEA6B-74CA-4E4B-8826-690D87FE6E3E}"/>
                  </a:ext>
                </a:extLst>
              </p:cNvPr>
              <p:cNvSpPr>
                <a:spLocks noChangeArrowheads="1"/>
              </p:cNvSpPr>
              <p:nvPr/>
            </p:nvSpPr>
            <p:spPr bwMode="auto">
              <a:xfrm>
                <a:off x="1900406" y="2471114"/>
                <a:ext cx="557584" cy="311864"/>
              </a:xfrm>
              <a:prstGeom prst="rect">
                <a:avLst/>
              </a:prstGeom>
              <a:solidFill>
                <a:schemeClr val="bg1"/>
              </a:solidFill>
              <a:ln w="19050" algn="ctr">
                <a:solidFill>
                  <a:srgbClr val="FF0000"/>
                </a:solidFill>
                <a:miter lim="800000"/>
                <a:headEnd/>
                <a:tailEnd/>
              </a:ln>
            </p:spPr>
            <p:txBody>
              <a:bodyPr anchor="ctr"/>
              <a:lstStyle/>
              <a:p>
                <a:pPr defTabSz="320954">
                  <a:spcBef>
                    <a:spcPct val="50000"/>
                  </a:spcBef>
                  <a:defRPr/>
                </a:pPr>
                <a:r>
                  <a:rPr lang="zh-CN" altLang="en-US" sz="1050" dirty="0">
                    <a:latin typeface="Calibri" pitchFamily="34" charset="0"/>
                    <a:ea typeface="PMingLiU-ExtB" pitchFamily="18" charset="-120"/>
                  </a:rPr>
                  <a:t>选择数据库</a:t>
                </a:r>
              </a:p>
            </p:txBody>
          </p:sp>
          <p:sp>
            <p:nvSpPr>
              <p:cNvPr id="40981" name="Line 9">
                <a:extLst>
                  <a:ext uri="{FF2B5EF4-FFF2-40B4-BE49-F238E27FC236}">
                    <a16:creationId xmlns:a16="http://schemas.microsoft.com/office/drawing/2014/main" id="{1ECAC4F3-3CD0-4B1F-BB0A-077539A7EDFA}"/>
                  </a:ext>
                </a:extLst>
              </p:cNvPr>
              <p:cNvSpPr>
                <a:spLocks noChangeShapeType="1"/>
              </p:cNvSpPr>
              <p:nvPr/>
            </p:nvSpPr>
            <p:spPr bwMode="auto">
              <a:xfrm flipV="1">
                <a:off x="1956510" y="2173213"/>
                <a:ext cx="241735" cy="297900"/>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05" name="Rectangle 7">
              <a:extLst>
                <a:ext uri="{FF2B5EF4-FFF2-40B4-BE49-F238E27FC236}">
                  <a16:creationId xmlns:a16="http://schemas.microsoft.com/office/drawing/2014/main" id="{603B9390-859C-4978-8B06-DF0CE881D723}"/>
                </a:ext>
              </a:extLst>
            </p:cNvPr>
            <p:cNvSpPr>
              <a:spLocks noChangeArrowheads="1"/>
            </p:cNvSpPr>
            <p:nvPr/>
          </p:nvSpPr>
          <p:spPr bwMode="auto">
            <a:xfrm>
              <a:off x="1883089" y="1630943"/>
              <a:ext cx="2534410" cy="542271"/>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31" name="Group 35">
            <a:extLst>
              <a:ext uri="{FF2B5EF4-FFF2-40B4-BE49-F238E27FC236}">
                <a16:creationId xmlns:a16="http://schemas.microsoft.com/office/drawing/2014/main" id="{0E97A819-2E2D-4465-98BF-46A8CA9F97A1}"/>
              </a:ext>
            </a:extLst>
          </p:cNvPr>
          <p:cNvGrpSpPr>
            <a:grpSpLocks/>
          </p:cNvGrpSpPr>
          <p:nvPr/>
        </p:nvGrpSpPr>
        <p:grpSpPr bwMode="auto">
          <a:xfrm>
            <a:off x="756395" y="1040804"/>
            <a:ext cx="6220192" cy="1046600"/>
            <a:chOff x="-3532102" y="2871592"/>
            <a:chExt cx="11337217" cy="1596520"/>
          </a:xfrm>
        </p:grpSpPr>
        <p:grpSp>
          <p:nvGrpSpPr>
            <p:cNvPr id="33800" name="Group 21">
              <a:extLst>
                <a:ext uri="{FF2B5EF4-FFF2-40B4-BE49-F238E27FC236}">
                  <a16:creationId xmlns:a16="http://schemas.microsoft.com/office/drawing/2014/main" id="{1955559F-EF29-4A6B-849C-7D34B44B4639}"/>
                </a:ext>
              </a:extLst>
            </p:cNvPr>
            <p:cNvGrpSpPr>
              <a:grpSpLocks/>
            </p:cNvGrpSpPr>
            <p:nvPr/>
          </p:nvGrpSpPr>
          <p:grpSpPr bwMode="auto">
            <a:xfrm>
              <a:off x="1911330" y="2871592"/>
              <a:ext cx="1950759" cy="1282638"/>
              <a:chOff x="1911330" y="2871592"/>
              <a:chExt cx="1950759" cy="1282638"/>
            </a:xfrm>
          </p:grpSpPr>
          <p:sp>
            <p:nvSpPr>
              <p:cNvPr id="40976" name="Rectangle 7">
                <a:extLst>
                  <a:ext uri="{FF2B5EF4-FFF2-40B4-BE49-F238E27FC236}">
                    <a16:creationId xmlns:a16="http://schemas.microsoft.com/office/drawing/2014/main" id="{78BEF9EF-2044-4826-A89A-B664FFBCA0B1}"/>
                  </a:ext>
                </a:extLst>
              </p:cNvPr>
              <p:cNvSpPr>
                <a:spLocks noChangeArrowheads="1"/>
              </p:cNvSpPr>
              <p:nvPr/>
            </p:nvSpPr>
            <p:spPr bwMode="auto">
              <a:xfrm>
                <a:off x="1912767" y="2871592"/>
                <a:ext cx="1950453" cy="661320"/>
              </a:xfrm>
              <a:prstGeom prst="rect">
                <a:avLst/>
              </a:prstGeom>
              <a:solidFill>
                <a:schemeClr val="bg1"/>
              </a:solidFill>
              <a:ln w="19050" algn="ctr">
                <a:solidFill>
                  <a:srgbClr val="FF0000"/>
                </a:solidFill>
                <a:miter lim="800000"/>
                <a:headEnd/>
                <a:tailEnd/>
              </a:ln>
            </p:spPr>
            <p:txBody>
              <a:bodyPr anchor="ctr"/>
              <a:lstStyle/>
              <a:p>
                <a:pPr defTabSz="320954">
                  <a:spcBef>
                    <a:spcPct val="50000"/>
                  </a:spcBef>
                  <a:defRPr/>
                </a:pPr>
                <a:r>
                  <a:rPr lang="zh-CN" altLang="en-US" sz="1050" dirty="0">
                    <a:latin typeface="PMingLiU-ExtB" pitchFamily="18" charset="-120"/>
                    <a:ea typeface="PMingLiU-ExtB" pitchFamily="18" charset="-120"/>
                  </a:rPr>
                  <a:t>限制条件、排序选项</a:t>
                </a:r>
              </a:p>
            </p:txBody>
          </p:sp>
          <p:sp>
            <p:nvSpPr>
              <p:cNvPr id="40977" name="Line 9">
                <a:extLst>
                  <a:ext uri="{FF2B5EF4-FFF2-40B4-BE49-F238E27FC236}">
                    <a16:creationId xmlns:a16="http://schemas.microsoft.com/office/drawing/2014/main" id="{0ED209FA-0086-495C-A916-6AEA1B146505}"/>
                  </a:ext>
                </a:extLst>
              </p:cNvPr>
              <p:cNvSpPr>
                <a:spLocks noChangeShapeType="1"/>
              </p:cNvSpPr>
              <p:nvPr/>
            </p:nvSpPr>
            <p:spPr bwMode="auto">
              <a:xfrm>
                <a:off x="2411482" y="3519552"/>
                <a:ext cx="0" cy="634599"/>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01" name="Rectangle 7">
              <a:extLst>
                <a:ext uri="{FF2B5EF4-FFF2-40B4-BE49-F238E27FC236}">
                  <a16:creationId xmlns:a16="http://schemas.microsoft.com/office/drawing/2014/main" id="{E4EED7A9-7059-4B6A-A404-9E933E20D1C5}"/>
                </a:ext>
              </a:extLst>
            </p:cNvPr>
            <p:cNvSpPr>
              <a:spLocks noChangeArrowheads="1"/>
            </p:cNvSpPr>
            <p:nvPr/>
          </p:nvSpPr>
          <p:spPr bwMode="auto">
            <a:xfrm>
              <a:off x="-3532102" y="4154151"/>
              <a:ext cx="11337217" cy="313961"/>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
        <p:nvSpPr>
          <p:cNvPr id="2" name="Title 1">
            <a:extLst>
              <a:ext uri="{FF2B5EF4-FFF2-40B4-BE49-F238E27FC236}">
                <a16:creationId xmlns:a16="http://schemas.microsoft.com/office/drawing/2014/main" id="{B3F2493C-98CF-491D-B8C7-E77ADB8B4791}"/>
              </a:ext>
            </a:extLst>
          </p:cNvPr>
          <p:cNvSpPr>
            <a:spLocks noGrp="1"/>
          </p:cNvSpPr>
          <p:nvPr>
            <p:ph type="title"/>
          </p:nvPr>
        </p:nvSpPr>
        <p:spPr/>
        <p:txBody>
          <a:bodyPr rtlCol="0">
            <a:noAutofit/>
          </a:bodyPr>
          <a:lstStyle/>
          <a:p>
            <a:pPr defTabSz="342887">
              <a:defRPr/>
            </a:pPr>
            <a:r>
              <a:rPr lang="zh-CN" altLang="en-US" sz="1500" dirty="0"/>
              <a:t>页面介绍</a:t>
            </a:r>
            <a:endParaRPr lang="en-US" sz="1500" dirty="0"/>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a:extLst>
              <a:ext uri="{FF2B5EF4-FFF2-40B4-BE49-F238E27FC236}">
                <a16:creationId xmlns:a16="http://schemas.microsoft.com/office/drawing/2014/main" id="{FB6002D4-B1A9-485A-AE29-F775B97592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404" y="876781"/>
            <a:ext cx="7430460" cy="35570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058" name="標題 1">
            <a:extLst>
              <a:ext uri="{FF2B5EF4-FFF2-40B4-BE49-F238E27FC236}">
                <a16:creationId xmlns:a16="http://schemas.microsoft.com/office/drawing/2014/main" id="{1393FC61-8DFA-4D74-BF96-C563D5C7A9B6}"/>
              </a:ext>
            </a:extLst>
          </p:cNvPr>
          <p:cNvSpPr>
            <a:spLocks noGrp="1"/>
          </p:cNvSpPr>
          <p:nvPr>
            <p:ph type="title"/>
          </p:nvPr>
        </p:nvSpPr>
        <p:spPr>
          <a:xfrm>
            <a:off x="1317308" y="464344"/>
            <a:ext cx="6626543" cy="434340"/>
          </a:xfrm>
        </p:spPr>
        <p:txBody>
          <a:bodyPr rtlCol="0">
            <a:noAutofit/>
          </a:bodyPr>
          <a:lstStyle/>
          <a:p>
            <a:pPr defTabSz="342887">
              <a:defRPr/>
            </a:pPr>
            <a:r>
              <a:rPr lang="zh-CN" altLang="en-US" sz="2400" dirty="0">
                <a:latin typeface="Calibri" pitchFamily="34" charset="0"/>
                <a:ea typeface="PMingLiU-ExtB" pitchFamily="18" charset="-120"/>
              </a:rPr>
              <a:t>以关键词“</a:t>
            </a:r>
            <a:r>
              <a:rPr lang="en-US" altLang="zh-CN" sz="2400" dirty="0">
                <a:latin typeface="Calibri" pitchFamily="34" charset="0"/>
                <a:ea typeface="PMingLiU-ExtB" pitchFamily="18" charset="-120"/>
              </a:rPr>
              <a:t>air pollution</a:t>
            </a:r>
            <a:r>
              <a:rPr lang="zh-CN" altLang="en-US" sz="2400" dirty="0">
                <a:latin typeface="Calibri" pitchFamily="34" charset="0"/>
                <a:ea typeface="PMingLiU-ExtB" pitchFamily="18" charset="-120"/>
              </a:rPr>
              <a:t>”检索：结果页面 </a:t>
            </a:r>
            <a:r>
              <a:rPr lang="en-US" altLang="zh-CN" sz="2400" dirty="0">
                <a:latin typeface="Calibri" pitchFamily="34" charset="0"/>
                <a:ea typeface="PMingLiU-ExtB" pitchFamily="18" charset="-120"/>
              </a:rPr>
              <a:t>- 1</a:t>
            </a:r>
          </a:p>
        </p:txBody>
      </p:sp>
      <p:grpSp>
        <p:nvGrpSpPr>
          <p:cNvPr id="7" name="Group 32">
            <a:extLst>
              <a:ext uri="{FF2B5EF4-FFF2-40B4-BE49-F238E27FC236}">
                <a16:creationId xmlns:a16="http://schemas.microsoft.com/office/drawing/2014/main" id="{4387326A-0EA3-40DA-9D9C-1DDC32A66A8B}"/>
              </a:ext>
            </a:extLst>
          </p:cNvPr>
          <p:cNvGrpSpPr>
            <a:grpSpLocks/>
          </p:cNvGrpSpPr>
          <p:nvPr/>
        </p:nvGrpSpPr>
        <p:grpSpPr bwMode="auto">
          <a:xfrm>
            <a:off x="857298" y="1405773"/>
            <a:ext cx="5262087" cy="620078"/>
            <a:chOff x="-1408516" y="1671772"/>
            <a:chExt cx="8636804" cy="827847"/>
          </a:xfrm>
        </p:grpSpPr>
        <p:grpSp>
          <p:nvGrpSpPr>
            <p:cNvPr id="35855" name="Group 30">
              <a:extLst>
                <a:ext uri="{FF2B5EF4-FFF2-40B4-BE49-F238E27FC236}">
                  <a16:creationId xmlns:a16="http://schemas.microsoft.com/office/drawing/2014/main" id="{4982BEDF-0777-4B5A-9D07-5599852C5E3A}"/>
                </a:ext>
              </a:extLst>
            </p:cNvPr>
            <p:cNvGrpSpPr>
              <a:grpSpLocks/>
            </p:cNvGrpSpPr>
            <p:nvPr/>
          </p:nvGrpSpPr>
          <p:grpSpPr bwMode="auto">
            <a:xfrm>
              <a:off x="-18046" y="1671772"/>
              <a:ext cx="7246334" cy="819398"/>
              <a:chOff x="-18046" y="1671772"/>
              <a:chExt cx="7246334" cy="819398"/>
            </a:xfrm>
          </p:grpSpPr>
          <p:sp>
            <p:nvSpPr>
              <p:cNvPr id="45077" name="Rectangle 7">
                <a:extLst>
                  <a:ext uri="{FF2B5EF4-FFF2-40B4-BE49-F238E27FC236}">
                    <a16:creationId xmlns:a16="http://schemas.microsoft.com/office/drawing/2014/main" id="{99F8DFAF-5FC0-469B-87F6-874E9F32CFBA}"/>
                  </a:ext>
                </a:extLst>
              </p:cNvPr>
              <p:cNvSpPr>
                <a:spLocks noChangeArrowheads="1"/>
              </p:cNvSpPr>
              <p:nvPr/>
            </p:nvSpPr>
            <p:spPr bwMode="auto">
              <a:xfrm>
                <a:off x="3265161" y="1671772"/>
                <a:ext cx="3963127" cy="820217"/>
              </a:xfrm>
              <a:prstGeom prst="rect">
                <a:avLst/>
              </a:prstGeom>
              <a:solidFill>
                <a:schemeClr val="bg1"/>
              </a:solidFill>
              <a:ln w="50800" algn="ctr">
                <a:solidFill>
                  <a:srgbClr val="FF0000"/>
                </a:solidFill>
                <a:miter lim="800000"/>
                <a:headEnd/>
                <a:tailEnd/>
              </a:ln>
            </p:spPr>
            <p:txBody>
              <a:bodyPr anchor="ctr"/>
              <a:lstStyle/>
              <a:p>
                <a:pPr defTabSz="320954">
                  <a:defRPr/>
                </a:pPr>
                <a:r>
                  <a:rPr lang="zh-TW" altLang="en-US" sz="1200" dirty="0">
                    <a:latin typeface="Calibri" pitchFamily="34" charset="0"/>
                    <a:ea typeface="PMingLiU-ExtB" pitchFamily="18" charset="-120"/>
                  </a:rPr>
                  <a:t>检索结果：</a:t>
                </a:r>
              </a:p>
              <a:p>
                <a:pPr defTabSz="320954">
                  <a:defRPr/>
                </a:pPr>
                <a:r>
                  <a:rPr lang="zh-CN" altLang="en-US" sz="1200" dirty="0">
                    <a:latin typeface="Calibri" pitchFamily="34" charset="0"/>
                    <a:ea typeface="PMingLiU-ExtB" pitchFamily="18" charset="-120"/>
                  </a:rPr>
                  <a:t>快速检索</a:t>
                </a:r>
                <a:r>
                  <a:rPr lang="en-US" altLang="zh-CN" sz="1200" dirty="0">
                    <a:latin typeface="Calibri" pitchFamily="34" charset="0"/>
                    <a:ea typeface="PMingLiU-ExtB" pitchFamily="18" charset="-120"/>
                  </a:rPr>
                  <a:t>/</a:t>
                </a:r>
                <a:r>
                  <a:rPr lang="zh-CN" altLang="en-US" sz="1200" dirty="0">
                    <a:latin typeface="Calibri" pitchFamily="34" charset="0"/>
                    <a:ea typeface="PMingLiU-ExtB" pitchFamily="18" charset="-120"/>
                  </a:rPr>
                  <a:t>篇摘要数据</a:t>
                </a:r>
                <a:r>
                  <a:rPr lang="en-US" altLang="zh-CN" sz="1200" dirty="0">
                    <a:latin typeface="Calibri" pitchFamily="34" charset="0"/>
                    <a:ea typeface="PMingLiU-ExtB" pitchFamily="18" charset="-120"/>
                  </a:rPr>
                  <a:t>/</a:t>
                </a:r>
              </a:p>
              <a:p>
                <a:pPr defTabSz="320954">
                  <a:defRPr/>
                </a:pPr>
                <a:r>
                  <a:rPr lang="zh-TW" altLang="en-US" sz="1200" dirty="0">
                    <a:latin typeface="Calibri" pitchFamily="34" charset="0"/>
                    <a:ea typeface="PMingLiU-ExtB" pitchFamily="18" charset="-120"/>
                  </a:rPr>
                  <a:t>数据库： </a:t>
                </a:r>
                <a:r>
                  <a:rPr lang="en-US" altLang="zh-TW" sz="1200" dirty="0" err="1">
                    <a:latin typeface="Calibri" pitchFamily="34" charset="0"/>
                    <a:ea typeface="PMingLiU-ExtB" pitchFamily="18" charset="-120"/>
                  </a:rPr>
                  <a:t>Compendex</a:t>
                </a:r>
                <a:r>
                  <a:rPr lang="en-US" altLang="zh-TW" sz="1200" dirty="0">
                    <a:latin typeface="Calibri" pitchFamily="34" charset="0"/>
                    <a:ea typeface="PMingLiU-ExtB" pitchFamily="18" charset="-120"/>
                  </a:rPr>
                  <a:t> &amp; INSPECT</a:t>
                </a:r>
                <a:endParaRPr lang="en-GB" altLang="zh-CN" sz="1200" dirty="0">
                  <a:latin typeface="Calibri" pitchFamily="34" charset="0"/>
                  <a:ea typeface="PMingLiU-ExtB" pitchFamily="18" charset="-120"/>
                </a:endParaRPr>
              </a:p>
            </p:txBody>
          </p:sp>
          <p:sp>
            <p:nvSpPr>
              <p:cNvPr id="45078" name="Line 9">
                <a:extLst>
                  <a:ext uri="{FF2B5EF4-FFF2-40B4-BE49-F238E27FC236}">
                    <a16:creationId xmlns:a16="http://schemas.microsoft.com/office/drawing/2014/main" id="{71DB33B8-2CA0-4A5D-BE7B-D366EABF0AB6}"/>
                  </a:ext>
                </a:extLst>
              </p:cNvPr>
              <p:cNvSpPr>
                <a:spLocks noChangeShapeType="1"/>
              </p:cNvSpPr>
              <p:nvPr/>
            </p:nvSpPr>
            <p:spPr bwMode="auto">
              <a:xfrm flipH="1">
                <a:off x="-17903" y="2081881"/>
                <a:ext cx="3283064" cy="70576"/>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35856" name="Rectangle 7">
              <a:extLst>
                <a:ext uri="{FF2B5EF4-FFF2-40B4-BE49-F238E27FC236}">
                  <a16:creationId xmlns:a16="http://schemas.microsoft.com/office/drawing/2014/main" id="{81789883-99CE-462C-B8D2-6D81A1A69EA4}"/>
                </a:ext>
              </a:extLst>
            </p:cNvPr>
            <p:cNvSpPr>
              <a:spLocks noChangeArrowheads="1"/>
            </p:cNvSpPr>
            <p:nvPr/>
          </p:nvSpPr>
          <p:spPr bwMode="auto">
            <a:xfrm>
              <a:off x="-1408516" y="2202052"/>
              <a:ext cx="2945377" cy="297567"/>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
        <p:nvSpPr>
          <p:cNvPr id="12" name="Rectangle 7">
            <a:extLst>
              <a:ext uri="{FF2B5EF4-FFF2-40B4-BE49-F238E27FC236}">
                <a16:creationId xmlns:a16="http://schemas.microsoft.com/office/drawing/2014/main" id="{5ECA3A58-B03A-4393-A1BA-54BAB8760B20}"/>
              </a:ext>
            </a:extLst>
          </p:cNvPr>
          <p:cNvSpPr>
            <a:spLocks noChangeArrowheads="1"/>
          </p:cNvSpPr>
          <p:nvPr/>
        </p:nvSpPr>
        <p:spPr bwMode="auto">
          <a:xfrm>
            <a:off x="829240" y="2800821"/>
            <a:ext cx="1293018" cy="1465898"/>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nvGrpSpPr>
          <p:cNvPr id="16" name="Group 17">
            <a:extLst>
              <a:ext uri="{FF2B5EF4-FFF2-40B4-BE49-F238E27FC236}">
                <a16:creationId xmlns:a16="http://schemas.microsoft.com/office/drawing/2014/main" id="{FEC41B34-30C0-4013-B06D-FD7561ACE23F}"/>
              </a:ext>
            </a:extLst>
          </p:cNvPr>
          <p:cNvGrpSpPr>
            <a:grpSpLocks/>
          </p:cNvGrpSpPr>
          <p:nvPr/>
        </p:nvGrpSpPr>
        <p:grpSpPr bwMode="auto">
          <a:xfrm>
            <a:off x="2035969" y="4243388"/>
            <a:ext cx="2193131" cy="574358"/>
            <a:chOff x="1017831" y="5505985"/>
            <a:chExt cx="2924776" cy="764191"/>
          </a:xfrm>
        </p:grpSpPr>
        <p:sp>
          <p:nvSpPr>
            <p:cNvPr id="45071" name="Rectangle 7">
              <a:extLst>
                <a:ext uri="{FF2B5EF4-FFF2-40B4-BE49-F238E27FC236}">
                  <a16:creationId xmlns:a16="http://schemas.microsoft.com/office/drawing/2014/main" id="{A8B4DD75-47B2-42AD-AEC0-CB67947EC5D3}"/>
                </a:ext>
              </a:extLst>
            </p:cNvPr>
            <p:cNvSpPr>
              <a:spLocks noChangeArrowheads="1"/>
            </p:cNvSpPr>
            <p:nvPr/>
          </p:nvSpPr>
          <p:spPr bwMode="auto">
            <a:xfrm>
              <a:off x="2077229" y="5747409"/>
              <a:ext cx="1865378" cy="522767"/>
            </a:xfrm>
            <a:prstGeom prst="rect">
              <a:avLst/>
            </a:prstGeom>
            <a:solidFill>
              <a:schemeClr val="bg1"/>
            </a:solidFill>
            <a:ln w="50800" algn="ctr">
              <a:solidFill>
                <a:srgbClr val="FF0000"/>
              </a:solidFill>
              <a:miter lim="800000"/>
              <a:headEnd/>
              <a:tailEnd/>
            </a:ln>
          </p:spPr>
          <p:txBody>
            <a:bodyPr anchor="ctr"/>
            <a:lstStyle/>
            <a:p>
              <a:pPr defTabSz="320954">
                <a:spcBef>
                  <a:spcPct val="50000"/>
                </a:spcBef>
                <a:defRPr/>
              </a:pPr>
              <a:r>
                <a:rPr lang="zh-CN" altLang="en-US" sz="1200" dirty="0">
                  <a:latin typeface="Calibri" pitchFamily="34" charset="0"/>
                  <a:ea typeface="PMingLiU-ExtB" pitchFamily="18" charset="-120"/>
                </a:rPr>
                <a:t>输入关键词开启新的检索</a:t>
              </a:r>
            </a:p>
          </p:txBody>
        </p:sp>
        <p:sp>
          <p:nvSpPr>
            <p:cNvPr id="45072" name="Line 9">
              <a:extLst>
                <a:ext uri="{FF2B5EF4-FFF2-40B4-BE49-F238E27FC236}">
                  <a16:creationId xmlns:a16="http://schemas.microsoft.com/office/drawing/2014/main" id="{419618E4-958C-43A4-95C8-B3D897833656}"/>
                </a:ext>
              </a:extLst>
            </p:cNvPr>
            <p:cNvSpPr>
              <a:spLocks noChangeShapeType="1"/>
            </p:cNvSpPr>
            <p:nvPr/>
          </p:nvSpPr>
          <p:spPr bwMode="auto">
            <a:xfrm flipH="1" flipV="1">
              <a:off x="1017831" y="5505985"/>
              <a:ext cx="1059398" cy="372591"/>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35847" name="Rectangle 7">
            <a:extLst>
              <a:ext uri="{FF2B5EF4-FFF2-40B4-BE49-F238E27FC236}">
                <a16:creationId xmlns:a16="http://schemas.microsoft.com/office/drawing/2014/main" id="{619CC280-1A86-4BD2-9865-D5BB3368334A}"/>
              </a:ext>
            </a:extLst>
          </p:cNvPr>
          <p:cNvSpPr>
            <a:spLocks noChangeArrowheads="1"/>
          </p:cNvSpPr>
          <p:nvPr/>
        </p:nvSpPr>
        <p:spPr bwMode="auto">
          <a:xfrm>
            <a:off x="3141257" y="2782319"/>
            <a:ext cx="1173688" cy="1440180"/>
          </a:xfrm>
          <a:prstGeom prst="rect">
            <a:avLst/>
          </a:prstGeom>
          <a:solidFill>
            <a:schemeClr val="bg1"/>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GB" altLang="zh-CN" sz="1170" dirty="0">
              <a:ea typeface="MS PGothic" panose="020B0600070205080204" pitchFamily="34" charset="-128"/>
            </a:endParaRPr>
          </a:p>
          <a:p>
            <a:pPr eaLnBrk="1" hangingPunct="1">
              <a:buFont typeface="Times" panose="02020603050405020304" pitchFamily="18" charset="0"/>
              <a:buNone/>
            </a:pPr>
            <a:r>
              <a:rPr lang="en-GB" altLang="zh-CN" sz="1170" dirty="0">
                <a:latin typeface="Calibri" panose="020F0502020204030204" pitchFamily="34" charset="0"/>
                <a:ea typeface="PMingLiU-ExtB" panose="02020500000000000000" pitchFamily="18" charset="-120"/>
              </a:rPr>
              <a:t>-</a:t>
            </a:r>
            <a:r>
              <a:rPr lang="zh-CN" altLang="en-GB" sz="1170" dirty="0">
                <a:latin typeface="Calibri" panose="020F0502020204030204" pitchFamily="34" charset="0"/>
                <a:ea typeface="PMingLiU-ExtB" panose="02020500000000000000" pitchFamily="18" charset="-120"/>
              </a:rPr>
              <a:t>图表显示</a:t>
            </a:r>
          </a:p>
          <a:p>
            <a:pPr eaLnBrk="1" hangingPunct="1">
              <a:buFont typeface="Times" panose="02020603050405020304" pitchFamily="18" charset="0"/>
              <a:buNone/>
            </a:pPr>
            <a:r>
              <a:rPr lang="en-GB" altLang="zh-CN" sz="1170" dirty="0">
                <a:latin typeface="Calibri" panose="020F0502020204030204" pitchFamily="34" charset="0"/>
                <a:ea typeface="PMingLiU-ExtB" panose="02020500000000000000" pitchFamily="18" charset="-120"/>
              </a:rPr>
              <a:t>-</a:t>
            </a:r>
            <a:r>
              <a:rPr lang="zh-CN" altLang="en-GB" sz="1170" dirty="0">
                <a:latin typeface="Calibri" panose="020F0502020204030204" pitchFamily="34" charset="0"/>
                <a:ea typeface="PMingLiU-ExtB" panose="02020500000000000000" pitchFamily="18" charset="-120"/>
              </a:rPr>
              <a:t>输出数据</a:t>
            </a:r>
          </a:p>
          <a:p>
            <a:pPr eaLnBrk="1" hangingPunct="1">
              <a:buFontTx/>
              <a:buChar char="-"/>
            </a:pPr>
            <a:r>
              <a:rPr lang="zh-CN" altLang="en-US" sz="1170" dirty="0">
                <a:latin typeface="Calibri" panose="020F0502020204030204" pitchFamily="34" charset="0"/>
                <a:ea typeface="PMingLiU-ExtB" panose="02020500000000000000" pitchFamily="18" charset="-120"/>
              </a:rPr>
              <a:t>打开</a:t>
            </a:r>
            <a:r>
              <a:rPr lang="en-US" altLang="zh-CN" sz="1170" dirty="0">
                <a:latin typeface="Calibri" panose="020F0502020204030204" pitchFamily="34" charset="0"/>
                <a:ea typeface="PMingLiU-ExtB" panose="02020500000000000000" pitchFamily="18" charset="-120"/>
              </a:rPr>
              <a:t>/</a:t>
            </a:r>
            <a:r>
              <a:rPr lang="zh-CN" altLang="en-US" sz="1170" dirty="0">
                <a:latin typeface="Calibri" panose="020F0502020204030204" pitchFamily="34" charset="0"/>
                <a:ea typeface="PMingLiU-ExtB" panose="02020500000000000000" pitchFamily="18" charset="-120"/>
              </a:rPr>
              <a:t>关闭限缩字段详细信息</a:t>
            </a:r>
            <a:br>
              <a:rPr lang="zh-CN" altLang="en-US" sz="1170" dirty="0">
                <a:latin typeface="Calibri" panose="020F0502020204030204" pitchFamily="34" charset="0"/>
                <a:ea typeface="PMingLiU-ExtB" panose="02020500000000000000" pitchFamily="18" charset="-120"/>
              </a:rPr>
            </a:br>
            <a:r>
              <a:rPr lang="en-US" altLang="zh-CN" sz="1170" dirty="0">
                <a:latin typeface="Calibri" panose="020F0502020204030204" pitchFamily="34" charset="0"/>
                <a:ea typeface="PMingLiU-ExtB" panose="02020500000000000000" pitchFamily="18" charset="-120"/>
              </a:rPr>
              <a:t>-</a:t>
            </a:r>
            <a:r>
              <a:rPr lang="zh-CN" altLang="en-US" sz="1170" dirty="0">
                <a:latin typeface="Calibri" panose="020F0502020204030204" pitchFamily="34" charset="0"/>
                <a:ea typeface="PMingLiU-ExtB" panose="02020500000000000000" pitchFamily="18" charset="-120"/>
              </a:rPr>
              <a:t>可用拖曳的方式改变限缩字段顺序</a:t>
            </a:r>
          </a:p>
          <a:p>
            <a:pPr eaLnBrk="1" hangingPunct="1">
              <a:spcBef>
                <a:spcPct val="50000"/>
              </a:spcBef>
              <a:buFont typeface="Times" panose="02020603050405020304" pitchFamily="18" charset="0"/>
              <a:buNone/>
            </a:pPr>
            <a:endParaRPr lang="zh-CN" altLang="en-US" sz="1170" dirty="0">
              <a:ea typeface="MS PGothic" panose="020B0600070205080204" pitchFamily="34" charset="-128"/>
            </a:endParaRPr>
          </a:p>
        </p:txBody>
      </p:sp>
      <p:sp>
        <p:nvSpPr>
          <p:cNvPr id="21" name="Line 9">
            <a:extLst>
              <a:ext uri="{FF2B5EF4-FFF2-40B4-BE49-F238E27FC236}">
                <a16:creationId xmlns:a16="http://schemas.microsoft.com/office/drawing/2014/main" id="{52F37160-9427-4C07-A53A-92B1DB6290C2}"/>
              </a:ext>
            </a:extLst>
          </p:cNvPr>
          <p:cNvSpPr>
            <a:spLocks noChangeShapeType="1"/>
          </p:cNvSpPr>
          <p:nvPr/>
        </p:nvSpPr>
        <p:spPr bwMode="auto">
          <a:xfrm flipH="1" flipV="1">
            <a:off x="2122258" y="3062047"/>
            <a:ext cx="1011555" cy="571500"/>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nvGrpSpPr>
          <p:cNvPr id="23" name="Group 17">
            <a:extLst>
              <a:ext uri="{FF2B5EF4-FFF2-40B4-BE49-F238E27FC236}">
                <a16:creationId xmlns:a16="http://schemas.microsoft.com/office/drawing/2014/main" id="{C3E86766-5153-4C66-9A3A-BEF63E9EA776}"/>
              </a:ext>
            </a:extLst>
          </p:cNvPr>
          <p:cNvGrpSpPr>
            <a:grpSpLocks/>
          </p:cNvGrpSpPr>
          <p:nvPr/>
        </p:nvGrpSpPr>
        <p:grpSpPr bwMode="auto">
          <a:xfrm>
            <a:off x="2368868" y="2273142"/>
            <a:ext cx="2204562" cy="271463"/>
            <a:chOff x="903541" y="6202665"/>
            <a:chExt cx="2939368" cy="362361"/>
          </a:xfrm>
        </p:grpSpPr>
        <p:sp>
          <p:nvSpPr>
            <p:cNvPr id="24" name="Rectangle 7">
              <a:extLst>
                <a:ext uri="{FF2B5EF4-FFF2-40B4-BE49-F238E27FC236}">
                  <a16:creationId xmlns:a16="http://schemas.microsoft.com/office/drawing/2014/main" id="{EC422FB1-4168-47C3-B581-CBF16A0E7835}"/>
                </a:ext>
              </a:extLst>
            </p:cNvPr>
            <p:cNvSpPr>
              <a:spLocks noChangeArrowheads="1"/>
            </p:cNvSpPr>
            <p:nvPr/>
          </p:nvSpPr>
          <p:spPr bwMode="auto">
            <a:xfrm>
              <a:off x="2355127" y="6202665"/>
              <a:ext cx="1487782" cy="362361"/>
            </a:xfrm>
            <a:prstGeom prst="rect">
              <a:avLst/>
            </a:prstGeom>
            <a:solidFill>
              <a:schemeClr val="bg1"/>
            </a:solidFill>
            <a:ln w="50800" algn="ctr">
              <a:solidFill>
                <a:srgbClr val="FF0000"/>
              </a:solidFill>
              <a:miter lim="800000"/>
              <a:headEnd/>
              <a:tailEnd/>
            </a:ln>
          </p:spPr>
          <p:txBody>
            <a:bodyPr anchor="ctr"/>
            <a:lstStyle/>
            <a:p>
              <a:pPr defTabSz="320954">
                <a:spcBef>
                  <a:spcPct val="50000"/>
                </a:spcBef>
                <a:defRPr/>
              </a:pPr>
              <a:r>
                <a:rPr lang="zh-CN" altLang="en-US" sz="1200" b="1" dirty="0">
                  <a:solidFill>
                    <a:srgbClr val="FF0000"/>
                  </a:solidFill>
                  <a:effectLst>
                    <a:outerShdw blurRad="38100" dist="38100" dir="2700000" algn="tl">
                      <a:srgbClr val="000000">
                        <a:alpha val="43137"/>
                      </a:srgbClr>
                    </a:outerShdw>
                  </a:effectLst>
                  <a:latin typeface="Calibri" pitchFamily="34" charset="0"/>
                  <a:ea typeface="PMingLiU-ExtB" pitchFamily="18" charset="-120"/>
                </a:rPr>
                <a:t>数据检索功能</a:t>
              </a:r>
            </a:p>
          </p:txBody>
        </p:sp>
        <p:sp>
          <p:nvSpPr>
            <p:cNvPr id="25" name="Line 9">
              <a:extLst>
                <a:ext uri="{FF2B5EF4-FFF2-40B4-BE49-F238E27FC236}">
                  <a16:creationId xmlns:a16="http://schemas.microsoft.com/office/drawing/2014/main" id="{1D870248-1F00-4D88-9473-3E1B75EFD25C}"/>
                </a:ext>
              </a:extLst>
            </p:cNvPr>
            <p:cNvSpPr>
              <a:spLocks noChangeShapeType="1"/>
            </p:cNvSpPr>
            <p:nvPr/>
          </p:nvSpPr>
          <p:spPr bwMode="auto">
            <a:xfrm flipH="1">
              <a:off x="903541" y="6383845"/>
              <a:ext cx="1451586" cy="0"/>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35850" name="Rectangle 7">
            <a:extLst>
              <a:ext uri="{FF2B5EF4-FFF2-40B4-BE49-F238E27FC236}">
                <a16:creationId xmlns:a16="http://schemas.microsoft.com/office/drawing/2014/main" id="{919B8480-414A-4AB2-8D4D-1EBC20FD38CE}"/>
              </a:ext>
            </a:extLst>
          </p:cNvPr>
          <p:cNvSpPr>
            <a:spLocks noChangeArrowheads="1"/>
          </p:cNvSpPr>
          <p:nvPr/>
        </p:nvSpPr>
        <p:spPr bwMode="auto">
          <a:xfrm>
            <a:off x="772822" y="2180762"/>
            <a:ext cx="1564613" cy="271444"/>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0"/>
                                        <p:tgtEl>
                                          <p:spTgt spid="12"/>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nodeType="click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2000"/>
                                        <p:tgtEl>
                                          <p:spTgt spid="16"/>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3">
            <a:extLst>
              <a:ext uri="{FF2B5EF4-FFF2-40B4-BE49-F238E27FC236}">
                <a16:creationId xmlns:a16="http://schemas.microsoft.com/office/drawing/2014/main" id="{7745718F-448A-49E1-A5E2-B361B47E32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4444" y="1163003"/>
            <a:ext cx="6616541" cy="3143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106" name="標題 2">
            <a:extLst>
              <a:ext uri="{FF2B5EF4-FFF2-40B4-BE49-F238E27FC236}">
                <a16:creationId xmlns:a16="http://schemas.microsoft.com/office/drawing/2014/main" id="{ECAF9C7C-032A-47E3-A815-F58E5E617BA7}"/>
              </a:ext>
            </a:extLst>
          </p:cNvPr>
          <p:cNvSpPr>
            <a:spLocks noGrp="1"/>
          </p:cNvSpPr>
          <p:nvPr>
            <p:ph type="title"/>
          </p:nvPr>
        </p:nvSpPr>
        <p:spPr>
          <a:xfrm>
            <a:off x="1201580" y="308610"/>
            <a:ext cx="6625113" cy="434340"/>
          </a:xfrm>
        </p:spPr>
        <p:txBody>
          <a:bodyPr rtlCol="0">
            <a:noAutofit/>
          </a:bodyPr>
          <a:lstStyle/>
          <a:p>
            <a:pPr defTabSz="342887">
              <a:defRPr/>
            </a:pPr>
            <a:r>
              <a:rPr lang="zh-CN" altLang="en-US" sz="2400" dirty="0">
                <a:latin typeface="Calibri" pitchFamily="34" charset="0"/>
                <a:ea typeface="PMingLiU-ExtB" pitchFamily="18" charset="-120"/>
              </a:rPr>
              <a:t>以关键词“</a:t>
            </a:r>
            <a:r>
              <a:rPr lang="en-US" altLang="zh-CN" sz="2400" dirty="0">
                <a:latin typeface="Calibri" pitchFamily="34" charset="0"/>
                <a:ea typeface="PMingLiU-ExtB" pitchFamily="18" charset="-120"/>
              </a:rPr>
              <a:t>air pollution</a:t>
            </a:r>
            <a:r>
              <a:rPr lang="zh-CN" altLang="en-US" sz="2400" dirty="0">
                <a:latin typeface="Calibri" pitchFamily="34" charset="0"/>
                <a:ea typeface="PMingLiU-ExtB" pitchFamily="18" charset="-120"/>
              </a:rPr>
              <a:t>”检索：结果页面 </a:t>
            </a:r>
            <a:r>
              <a:rPr lang="en-US" altLang="zh-CN" sz="2400" dirty="0">
                <a:latin typeface="Calibri" pitchFamily="34" charset="0"/>
                <a:ea typeface="PMingLiU-ExtB" pitchFamily="18" charset="-120"/>
              </a:rPr>
              <a:t>- 2</a:t>
            </a:r>
            <a:endParaRPr lang="en-US" altLang="zh-CN" sz="2400" dirty="0"/>
          </a:p>
        </p:txBody>
      </p:sp>
      <p:grpSp>
        <p:nvGrpSpPr>
          <p:cNvPr id="6" name="Group 10">
            <a:extLst>
              <a:ext uri="{FF2B5EF4-FFF2-40B4-BE49-F238E27FC236}">
                <a16:creationId xmlns:a16="http://schemas.microsoft.com/office/drawing/2014/main" id="{1CC079C4-BF5F-46BB-AC39-4DECE11B655D}"/>
              </a:ext>
            </a:extLst>
          </p:cNvPr>
          <p:cNvGrpSpPr>
            <a:grpSpLocks/>
          </p:cNvGrpSpPr>
          <p:nvPr/>
        </p:nvGrpSpPr>
        <p:grpSpPr bwMode="auto">
          <a:xfrm>
            <a:off x="1254443" y="904399"/>
            <a:ext cx="4580573" cy="1554480"/>
            <a:chOff x="731304" y="410617"/>
            <a:chExt cx="5172358" cy="2072647"/>
          </a:xfrm>
        </p:grpSpPr>
        <p:sp>
          <p:nvSpPr>
            <p:cNvPr id="47116" name="Rectangle 7">
              <a:extLst>
                <a:ext uri="{FF2B5EF4-FFF2-40B4-BE49-F238E27FC236}">
                  <a16:creationId xmlns:a16="http://schemas.microsoft.com/office/drawing/2014/main" id="{BA49C162-79C8-4975-82B2-2C54B98EE46E}"/>
                </a:ext>
              </a:extLst>
            </p:cNvPr>
            <p:cNvSpPr>
              <a:spLocks noChangeArrowheads="1"/>
            </p:cNvSpPr>
            <p:nvPr/>
          </p:nvSpPr>
          <p:spPr bwMode="auto">
            <a:xfrm>
              <a:off x="731304" y="410617"/>
              <a:ext cx="5172358" cy="592456"/>
            </a:xfrm>
            <a:prstGeom prst="rect">
              <a:avLst/>
            </a:prstGeom>
            <a:solidFill>
              <a:schemeClr val="bg1"/>
            </a:solidFill>
            <a:ln w="50800" algn="ctr">
              <a:solidFill>
                <a:srgbClr val="FF0000"/>
              </a:solidFill>
              <a:miter lim="800000"/>
              <a:headEnd/>
              <a:tailEnd/>
            </a:ln>
          </p:spPr>
          <p:txBody>
            <a:bodyPr anchor="ctr"/>
            <a:lstStyle/>
            <a:p>
              <a:pPr defTabSz="320954">
                <a:defRPr/>
              </a:pPr>
              <a:r>
                <a:rPr lang="en-US" altLang="zh-TW" sz="1050">
                  <a:latin typeface="Calibri" pitchFamily="34" charset="0"/>
                  <a:ea typeface="PMingLiU-ExtB" pitchFamily="18" charset="-120"/>
                </a:rPr>
                <a:t>Selected Records</a:t>
              </a:r>
              <a:r>
                <a:rPr lang="zh-TW" altLang="en-US" sz="1050">
                  <a:latin typeface="PMingLiU-ExtB" pitchFamily="18" charset="-120"/>
                  <a:ea typeface="PMingLiU-ExtB" pitchFamily="18" charset="-120"/>
                </a:rPr>
                <a:t>：</a:t>
              </a:r>
              <a:r>
                <a:rPr lang="zh-TW" altLang="en-US" sz="1050">
                  <a:latin typeface="Calibri" pitchFamily="34" charset="0"/>
                  <a:ea typeface="PMingLiU-ExtB" pitchFamily="18" charset="-120"/>
                </a:rPr>
                <a:t>暂存文章</a:t>
              </a:r>
            </a:p>
            <a:p>
              <a:pPr defTabSz="320954">
                <a:defRPr/>
              </a:pPr>
              <a:r>
                <a:rPr lang="zh-CN" altLang="en-US" sz="1050">
                  <a:latin typeface="Calibri" pitchFamily="34" charset="0"/>
                  <a:ea typeface="PMingLiU-ExtB" pitchFamily="18" charset="-120"/>
                </a:rPr>
                <a:t>管理检索结果：寄</a:t>
              </a:r>
              <a:r>
                <a:rPr lang="en-US" altLang="zh-CN" sz="1050">
                  <a:latin typeface="Calibri" pitchFamily="34" charset="0"/>
                  <a:ea typeface="PMingLiU-ExtB" pitchFamily="18" charset="-120"/>
                </a:rPr>
                <a:t>E-mail/</a:t>
              </a:r>
              <a:r>
                <a:rPr lang="zh-CN" altLang="en-US" sz="1050">
                  <a:latin typeface="Calibri" pitchFamily="34" charset="0"/>
                  <a:ea typeface="PMingLiU-ExtB" pitchFamily="18" charset="-120"/>
                </a:rPr>
                <a:t>打印</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下载书目信息</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存到我的数据夹</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移除重复文章</a:t>
              </a:r>
              <a:endParaRPr lang="en-US" altLang="zh-TW" sz="1050">
                <a:latin typeface="Calibri" pitchFamily="34" charset="0"/>
                <a:ea typeface="PMingLiU-ExtB" pitchFamily="18" charset="-120"/>
              </a:endParaRPr>
            </a:p>
          </p:txBody>
        </p:sp>
        <p:sp>
          <p:nvSpPr>
            <p:cNvPr id="47117" name="Line 9">
              <a:extLst>
                <a:ext uri="{FF2B5EF4-FFF2-40B4-BE49-F238E27FC236}">
                  <a16:creationId xmlns:a16="http://schemas.microsoft.com/office/drawing/2014/main" id="{862E297B-5B60-4AD0-B1B2-1B7480794262}"/>
                </a:ext>
              </a:extLst>
            </p:cNvPr>
            <p:cNvSpPr>
              <a:spLocks noChangeShapeType="1"/>
            </p:cNvSpPr>
            <p:nvPr/>
          </p:nvSpPr>
          <p:spPr bwMode="auto">
            <a:xfrm flipH="1">
              <a:off x="2633429" y="1003073"/>
              <a:ext cx="177467" cy="1285880"/>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sp>
          <p:nvSpPr>
            <p:cNvPr id="37903" name="Rectangle 7">
              <a:extLst>
                <a:ext uri="{FF2B5EF4-FFF2-40B4-BE49-F238E27FC236}">
                  <a16:creationId xmlns:a16="http://schemas.microsoft.com/office/drawing/2014/main" id="{98DF426D-9A66-4FBE-A92C-4B79D34734F9}"/>
                </a:ext>
              </a:extLst>
            </p:cNvPr>
            <p:cNvSpPr>
              <a:spLocks noChangeArrowheads="1"/>
            </p:cNvSpPr>
            <p:nvPr/>
          </p:nvSpPr>
          <p:spPr bwMode="auto">
            <a:xfrm>
              <a:off x="2470481" y="2271808"/>
              <a:ext cx="516268" cy="211456"/>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10" name="Group 9">
            <a:extLst>
              <a:ext uri="{FF2B5EF4-FFF2-40B4-BE49-F238E27FC236}">
                <a16:creationId xmlns:a16="http://schemas.microsoft.com/office/drawing/2014/main" id="{82ED1108-4071-4F05-868C-16883EE690E1}"/>
              </a:ext>
            </a:extLst>
          </p:cNvPr>
          <p:cNvGrpSpPr>
            <a:grpSpLocks/>
          </p:cNvGrpSpPr>
          <p:nvPr/>
        </p:nvGrpSpPr>
        <p:grpSpPr bwMode="auto">
          <a:xfrm>
            <a:off x="5262087" y="1388745"/>
            <a:ext cx="2660333" cy="1698784"/>
            <a:chOff x="5597166" y="1513271"/>
            <a:chExt cx="3548517" cy="2263452"/>
          </a:xfrm>
        </p:grpSpPr>
        <p:sp>
          <p:nvSpPr>
            <p:cNvPr id="37898" name="Rectangle 7">
              <a:extLst>
                <a:ext uri="{FF2B5EF4-FFF2-40B4-BE49-F238E27FC236}">
                  <a16:creationId xmlns:a16="http://schemas.microsoft.com/office/drawing/2014/main" id="{E9465732-E012-43E4-BCBC-E6E1B5F03BB3}"/>
                </a:ext>
              </a:extLst>
            </p:cNvPr>
            <p:cNvSpPr>
              <a:spLocks noChangeArrowheads="1"/>
            </p:cNvSpPr>
            <p:nvPr/>
          </p:nvSpPr>
          <p:spPr bwMode="auto">
            <a:xfrm>
              <a:off x="7542942" y="2583128"/>
              <a:ext cx="823286" cy="1193595"/>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47114" name="Rectangle 7">
              <a:extLst>
                <a:ext uri="{FF2B5EF4-FFF2-40B4-BE49-F238E27FC236}">
                  <a16:creationId xmlns:a16="http://schemas.microsoft.com/office/drawing/2014/main" id="{D24358C6-442D-4E37-8407-8F8F672682BC}"/>
                </a:ext>
              </a:extLst>
            </p:cNvPr>
            <p:cNvSpPr>
              <a:spLocks noChangeArrowheads="1"/>
            </p:cNvSpPr>
            <p:nvPr/>
          </p:nvSpPr>
          <p:spPr bwMode="auto">
            <a:xfrm>
              <a:off x="5597166" y="1513271"/>
              <a:ext cx="3548517" cy="614883"/>
            </a:xfrm>
            <a:prstGeom prst="rect">
              <a:avLst/>
            </a:prstGeom>
            <a:solidFill>
              <a:schemeClr val="bg1"/>
            </a:solidFill>
            <a:ln w="50800" algn="ctr">
              <a:solidFill>
                <a:srgbClr val="FF0000"/>
              </a:solidFill>
              <a:miter lim="800000"/>
              <a:headEnd/>
              <a:tailEnd/>
            </a:ln>
          </p:spPr>
          <p:txBody>
            <a:bodyPr anchor="ctr"/>
            <a:lstStyle/>
            <a:p>
              <a:pPr defTabSz="320954">
                <a:defRPr/>
              </a:pPr>
              <a:r>
                <a:rPr lang="zh-CN" altLang="en-US" sz="1050" dirty="0">
                  <a:latin typeface="Calibri" pitchFamily="34" charset="0"/>
                  <a:ea typeface="PMingLiU-ExtB" pitchFamily="18" charset="-120"/>
                </a:rPr>
                <a:t>可依照相关程度、日期 ，作者，期刊，出版社</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默认为相关度</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在相同条件之下，再依降序或升幂规则排序</a:t>
              </a:r>
              <a:endParaRPr lang="zh-TW" altLang="en-US" sz="1050" dirty="0">
                <a:latin typeface="Calibri" pitchFamily="34" charset="0"/>
                <a:ea typeface="PMingLiU-ExtB" pitchFamily="18" charset="-120"/>
              </a:endParaRPr>
            </a:p>
          </p:txBody>
        </p:sp>
        <p:sp>
          <p:nvSpPr>
            <p:cNvPr id="47115" name="Line 9">
              <a:extLst>
                <a:ext uri="{FF2B5EF4-FFF2-40B4-BE49-F238E27FC236}">
                  <a16:creationId xmlns:a16="http://schemas.microsoft.com/office/drawing/2014/main" id="{BA40D2B8-1D01-4CA1-9952-4C19CDEB9C61}"/>
                </a:ext>
              </a:extLst>
            </p:cNvPr>
            <p:cNvSpPr>
              <a:spLocks noChangeShapeType="1"/>
            </p:cNvSpPr>
            <p:nvPr/>
          </p:nvSpPr>
          <p:spPr bwMode="auto">
            <a:xfrm>
              <a:off x="7857392" y="2147190"/>
              <a:ext cx="97193" cy="435937"/>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grpSp>
        <p:nvGrpSpPr>
          <p:cNvPr id="14" name="Group 10">
            <a:extLst>
              <a:ext uri="{FF2B5EF4-FFF2-40B4-BE49-F238E27FC236}">
                <a16:creationId xmlns:a16="http://schemas.microsoft.com/office/drawing/2014/main" id="{2CDA1649-5DEA-4F88-9D16-E8F62796A499}"/>
              </a:ext>
            </a:extLst>
          </p:cNvPr>
          <p:cNvGrpSpPr>
            <a:grpSpLocks/>
          </p:cNvGrpSpPr>
          <p:nvPr/>
        </p:nvGrpSpPr>
        <p:grpSpPr bwMode="auto">
          <a:xfrm>
            <a:off x="2670334" y="2300288"/>
            <a:ext cx="4416266" cy="1987392"/>
            <a:chOff x="2134630" y="1381899"/>
            <a:chExt cx="4984843" cy="2650567"/>
          </a:xfrm>
        </p:grpSpPr>
        <p:sp>
          <p:nvSpPr>
            <p:cNvPr id="47110" name="Rectangle 7">
              <a:extLst>
                <a:ext uri="{FF2B5EF4-FFF2-40B4-BE49-F238E27FC236}">
                  <a16:creationId xmlns:a16="http://schemas.microsoft.com/office/drawing/2014/main" id="{AA04ADF1-B8E0-4EEA-A937-1EFBBCD2AFF7}"/>
                </a:ext>
              </a:extLst>
            </p:cNvPr>
            <p:cNvSpPr>
              <a:spLocks noChangeArrowheads="1"/>
            </p:cNvSpPr>
            <p:nvPr/>
          </p:nvSpPr>
          <p:spPr bwMode="auto">
            <a:xfrm>
              <a:off x="3753777" y="3279788"/>
              <a:ext cx="3365696" cy="590709"/>
            </a:xfrm>
            <a:prstGeom prst="rect">
              <a:avLst/>
            </a:prstGeom>
            <a:solidFill>
              <a:schemeClr val="bg1"/>
            </a:solidFill>
            <a:ln w="50800" algn="ctr">
              <a:solidFill>
                <a:srgbClr val="FF0000"/>
              </a:solidFill>
              <a:miter lim="800000"/>
              <a:headEnd/>
              <a:tailEnd/>
            </a:ln>
          </p:spPr>
          <p:txBody>
            <a:bodyPr anchor="ctr"/>
            <a:lstStyle/>
            <a:p>
              <a:pPr defTabSz="320954">
                <a:defRPr/>
              </a:pPr>
              <a:r>
                <a:rPr lang="zh-CN" altLang="en-US" sz="1050">
                  <a:latin typeface="Calibri" pitchFamily="34" charset="0"/>
                  <a:ea typeface="PMingLiU-ExtB" pitchFamily="18" charset="-120"/>
                </a:rPr>
                <a:t>可同时勾选多篇文献，进行管理</a:t>
              </a:r>
              <a:r>
                <a:rPr lang="en-US" altLang="zh-CN" sz="1050">
                  <a:latin typeface="Calibri" pitchFamily="34" charset="0"/>
                  <a:ea typeface="PMingLiU-ExtB" pitchFamily="18" charset="-120"/>
                </a:rPr>
                <a:t>(E-mail/</a:t>
              </a:r>
              <a:r>
                <a:rPr lang="zh-CN" altLang="en-US" sz="1050">
                  <a:latin typeface="Calibri" pitchFamily="34" charset="0"/>
                  <a:ea typeface="PMingLiU-ExtB" pitchFamily="18" charset="-120"/>
                </a:rPr>
                <a:t>打印</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下载书目信息</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存到我的数据夹</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暂存</a:t>
              </a:r>
              <a:r>
                <a:rPr lang="en-US" altLang="zh-CN" sz="1050">
                  <a:latin typeface="Calibri" pitchFamily="34" charset="0"/>
                  <a:ea typeface="PMingLiU-ExtB" pitchFamily="18" charset="-120"/>
                </a:rPr>
                <a:t>)</a:t>
              </a:r>
            </a:p>
          </p:txBody>
        </p:sp>
        <p:sp>
          <p:nvSpPr>
            <p:cNvPr id="47111" name="Line 9">
              <a:extLst>
                <a:ext uri="{FF2B5EF4-FFF2-40B4-BE49-F238E27FC236}">
                  <a16:creationId xmlns:a16="http://schemas.microsoft.com/office/drawing/2014/main" id="{82E2976A-7955-42BE-B05F-A7D53BE9FF1A}"/>
                </a:ext>
              </a:extLst>
            </p:cNvPr>
            <p:cNvSpPr>
              <a:spLocks noChangeShapeType="1"/>
            </p:cNvSpPr>
            <p:nvPr/>
          </p:nvSpPr>
          <p:spPr bwMode="auto">
            <a:xfrm flipH="1" flipV="1">
              <a:off x="2387823" y="2963473"/>
              <a:ext cx="1335312" cy="518299"/>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sp>
          <p:nvSpPr>
            <p:cNvPr id="37897" name="Rectangle 7">
              <a:extLst>
                <a:ext uri="{FF2B5EF4-FFF2-40B4-BE49-F238E27FC236}">
                  <a16:creationId xmlns:a16="http://schemas.microsoft.com/office/drawing/2014/main" id="{E40D878B-5F0D-48B6-B5B8-D00EFE090A02}"/>
                </a:ext>
              </a:extLst>
            </p:cNvPr>
            <p:cNvSpPr>
              <a:spLocks noChangeArrowheads="1"/>
            </p:cNvSpPr>
            <p:nvPr/>
          </p:nvSpPr>
          <p:spPr bwMode="auto">
            <a:xfrm>
              <a:off x="2134630" y="1381899"/>
              <a:ext cx="151593" cy="2650567"/>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000"/>
                                        <p:tgtEl>
                                          <p:spTgt spid="1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6">
            <a:extLst>
              <a:ext uri="{FF2B5EF4-FFF2-40B4-BE49-F238E27FC236}">
                <a16:creationId xmlns:a16="http://schemas.microsoft.com/office/drawing/2014/main" id="{1D9C7061-8F38-4AFE-AA8A-B3ECCBE86F37}"/>
              </a:ext>
            </a:extLst>
          </p:cNvPr>
          <p:cNvSpPr txBox="1">
            <a:spLocks noChangeArrowheads="1"/>
          </p:cNvSpPr>
          <p:nvPr/>
        </p:nvSpPr>
        <p:spPr bwMode="auto">
          <a:xfrm>
            <a:off x="1371600" y="1930242"/>
            <a:ext cx="6629400" cy="600164"/>
          </a:xfrm>
          <a:prstGeom prst="rect">
            <a:avLst/>
          </a:prstGeom>
          <a:noFill/>
          <a:ln w="9525">
            <a:noFill/>
            <a:miter lim="800000"/>
            <a:headEnd/>
            <a:tailEnd/>
          </a:ln>
        </p:spPr>
        <p:txBody>
          <a:bodyPr lIns="0" rIns="0">
            <a:spAutoFit/>
          </a:bodyPr>
          <a:lstStyle/>
          <a:p>
            <a:pPr algn="ctr" defTabSz="320954">
              <a:defRPr/>
            </a:pPr>
            <a:r>
              <a:rPr lang="zh-CN" altLang="en-US" sz="3300" b="1" dirty="0">
                <a:solidFill>
                  <a:srgbClr val="003C79"/>
                </a:solidFill>
                <a:latin typeface="Calibri" pitchFamily="34" charset="0"/>
                <a:ea typeface="PMingLiU-ExtB" pitchFamily="18" charset="-120"/>
              </a:rPr>
              <a:t>过滤和分析检索结果</a:t>
            </a:r>
            <a:endParaRPr lang="zh-TW" altLang="en-GB" sz="3300" b="1" dirty="0">
              <a:solidFill>
                <a:srgbClr val="003C79"/>
              </a:solidFill>
              <a:latin typeface="Calibri" pitchFamily="34" charset="0"/>
              <a:ea typeface="PMingLiU-ExtB" pitchFamily="18" charset="-120"/>
            </a:endParaRPr>
          </a:p>
        </p:txBody>
      </p:sp>
      <p:pic>
        <p:nvPicPr>
          <p:cNvPr id="39939" name="Picture 2" descr="C:\Users\LiuK002\Desktop\Elsevier related\Elsevier pictures\EV\EV_1-3.bmp">
            <a:extLst>
              <a:ext uri="{FF2B5EF4-FFF2-40B4-BE49-F238E27FC236}">
                <a16:creationId xmlns:a16="http://schemas.microsoft.com/office/drawing/2014/main" id="{0AB942B2-3E97-4C71-A873-002A34A528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1618" y="3873342"/>
            <a:ext cx="6180773" cy="94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a:extLst>
              <a:ext uri="{FF2B5EF4-FFF2-40B4-BE49-F238E27FC236}">
                <a16:creationId xmlns:a16="http://schemas.microsoft.com/office/drawing/2014/main" id="{D2F80704-D9A7-4892-B116-58A3E44C50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4447" y="1447324"/>
            <a:ext cx="6487953" cy="3106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297" name="標題 1">
            <a:extLst>
              <a:ext uri="{FF2B5EF4-FFF2-40B4-BE49-F238E27FC236}">
                <a16:creationId xmlns:a16="http://schemas.microsoft.com/office/drawing/2014/main" id="{700CC200-5DA5-42A2-8F04-FB79A1FBD5A2}"/>
              </a:ext>
            </a:extLst>
          </p:cNvPr>
          <p:cNvSpPr>
            <a:spLocks noGrp="1"/>
          </p:cNvSpPr>
          <p:nvPr>
            <p:ph type="title"/>
          </p:nvPr>
        </p:nvSpPr>
        <p:spPr>
          <a:xfrm>
            <a:off x="1375887" y="450057"/>
            <a:ext cx="6625113" cy="434340"/>
          </a:xfrm>
        </p:spPr>
        <p:txBody>
          <a:bodyPr rtlCol="0">
            <a:noAutofit/>
          </a:bodyPr>
          <a:lstStyle/>
          <a:p>
            <a:pPr defTabSz="342887">
              <a:defRPr/>
            </a:pPr>
            <a:r>
              <a:rPr lang="zh-CN" altLang="en-US" sz="2520" dirty="0">
                <a:solidFill>
                  <a:srgbClr val="003C79"/>
                </a:solidFill>
                <a:latin typeface="Calibri" pitchFamily="34" charset="0"/>
                <a:ea typeface="PMingLiU-ExtB" pitchFamily="18" charset="-120"/>
              </a:rPr>
              <a:t>过滤检索结果</a:t>
            </a:r>
            <a:endParaRPr lang="zh-CN" altLang="en-US" sz="2400" dirty="0">
              <a:latin typeface="Calibri" pitchFamily="34" charset="0"/>
              <a:ea typeface="PMingLiU-ExtB" pitchFamily="18" charset="-120"/>
            </a:endParaRPr>
          </a:p>
        </p:txBody>
      </p:sp>
      <p:grpSp>
        <p:nvGrpSpPr>
          <p:cNvPr id="6" name="Group 9">
            <a:extLst>
              <a:ext uri="{FF2B5EF4-FFF2-40B4-BE49-F238E27FC236}">
                <a16:creationId xmlns:a16="http://schemas.microsoft.com/office/drawing/2014/main" id="{46DBA256-2017-4630-B3A9-E51E67DE2FC5}"/>
              </a:ext>
            </a:extLst>
          </p:cNvPr>
          <p:cNvGrpSpPr>
            <a:grpSpLocks/>
          </p:cNvGrpSpPr>
          <p:nvPr/>
        </p:nvGrpSpPr>
        <p:grpSpPr bwMode="auto">
          <a:xfrm>
            <a:off x="1283018" y="1141572"/>
            <a:ext cx="6212205" cy="3411855"/>
            <a:chOff x="6375079" y="47501"/>
            <a:chExt cx="8284499" cy="4548249"/>
          </a:xfrm>
        </p:grpSpPr>
        <p:sp>
          <p:nvSpPr>
            <p:cNvPr id="41989" name="Rectangle 7">
              <a:extLst>
                <a:ext uri="{FF2B5EF4-FFF2-40B4-BE49-F238E27FC236}">
                  <a16:creationId xmlns:a16="http://schemas.microsoft.com/office/drawing/2014/main" id="{3BF92E29-C993-4FE1-9B10-1B666BC0F7CA}"/>
                </a:ext>
              </a:extLst>
            </p:cNvPr>
            <p:cNvSpPr>
              <a:spLocks noChangeArrowheads="1"/>
            </p:cNvSpPr>
            <p:nvPr/>
          </p:nvSpPr>
          <p:spPr bwMode="auto">
            <a:xfrm>
              <a:off x="6375079" y="837921"/>
              <a:ext cx="1684337" cy="3757829"/>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55301" name="Rectangle 7">
              <a:extLst>
                <a:ext uri="{FF2B5EF4-FFF2-40B4-BE49-F238E27FC236}">
                  <a16:creationId xmlns:a16="http://schemas.microsoft.com/office/drawing/2014/main" id="{C7AA49CE-B90B-42D7-8DDF-EA3BA54D363B}"/>
                </a:ext>
              </a:extLst>
            </p:cNvPr>
            <p:cNvSpPr>
              <a:spLocks noChangeArrowheads="1"/>
            </p:cNvSpPr>
            <p:nvPr/>
          </p:nvSpPr>
          <p:spPr bwMode="auto">
            <a:xfrm>
              <a:off x="10313456" y="47501"/>
              <a:ext cx="4346122" cy="1578935"/>
            </a:xfrm>
            <a:prstGeom prst="rect">
              <a:avLst/>
            </a:prstGeom>
            <a:solidFill>
              <a:schemeClr val="bg1"/>
            </a:solidFill>
            <a:ln w="50800" algn="ctr">
              <a:solidFill>
                <a:srgbClr val="FF0000"/>
              </a:solidFill>
              <a:miter lim="800000"/>
              <a:headEnd/>
              <a:tailEnd/>
            </a:ln>
          </p:spPr>
          <p:txBody>
            <a:bodyPr anchor="ctr"/>
            <a:lstStyle/>
            <a:p>
              <a:pPr defTabSz="320954">
                <a:buFont typeface="Times" pitchFamily="18" charset="0"/>
                <a:buChar char="•"/>
                <a:defRPr/>
              </a:pPr>
              <a:r>
                <a:rPr lang="zh-CN" altLang="en-US" sz="1200">
                  <a:latin typeface="Calibri" pitchFamily="34" charset="0"/>
                  <a:ea typeface="PMingLiU-ExtB" pitchFamily="18" charset="-120"/>
                </a:rPr>
                <a:t>在</a:t>
              </a:r>
              <a:r>
                <a:rPr lang="en-US" altLang="zh-CN" sz="1200">
                  <a:latin typeface="Calibri" pitchFamily="34" charset="0"/>
                  <a:ea typeface="PMingLiU-ExtB" pitchFamily="18" charset="-120"/>
                </a:rPr>
                <a:t>Refine Results</a:t>
              </a:r>
              <a:r>
                <a:rPr lang="zh-CN" altLang="en-US" sz="1200">
                  <a:latin typeface="Calibri" pitchFamily="34" charset="0"/>
                  <a:ea typeface="PMingLiU-ExtB" pitchFamily="18" charset="-120"/>
                </a:rPr>
                <a:t>检索结果中</a:t>
              </a:r>
              <a:r>
                <a:rPr lang="en-US" altLang="zh-CN" sz="1200">
                  <a:latin typeface="Calibri" pitchFamily="34" charset="0"/>
                  <a:ea typeface="PMingLiU-ExtB" pitchFamily="18" charset="-120"/>
                </a:rPr>
                <a:t>:</a:t>
              </a:r>
              <a:r>
                <a:rPr lang="zh-CN" altLang="en-US" sz="1200">
                  <a:latin typeface="Calibri" pitchFamily="34" charset="0"/>
                  <a:ea typeface="PMingLiU-ExtB" pitchFamily="18" charset="-120"/>
                </a:rPr>
                <a:t>可依作者、作者所属机构、国家、文献种类等类别进阶筛选 </a:t>
              </a:r>
              <a:r>
                <a:rPr lang="en-US" altLang="zh-CN" sz="1200">
                  <a:latin typeface="Calibri" pitchFamily="34" charset="0"/>
                  <a:ea typeface="PMingLiU-ExtB" pitchFamily="18" charset="-120"/>
                </a:rPr>
                <a:t>:</a:t>
              </a:r>
              <a:r>
                <a:rPr lang="zh-CN" altLang="en-US" sz="1200">
                  <a:latin typeface="Calibri" pitchFamily="34" charset="0"/>
                  <a:ea typeface="PMingLiU-ExtB" pitchFamily="18" charset="-120"/>
                </a:rPr>
                <a:t>可</a:t>
              </a:r>
              <a:r>
                <a:rPr lang="en-US" altLang="zh-CN" sz="1200">
                  <a:latin typeface="Calibri" pitchFamily="34" charset="0"/>
                  <a:ea typeface="PMingLiU-ExtB" pitchFamily="18" charset="-120"/>
                </a:rPr>
                <a:t>Include</a:t>
              </a:r>
              <a:r>
                <a:rPr lang="zh-CN" altLang="en-US" sz="1200">
                  <a:latin typeface="Calibri" pitchFamily="34" charset="0"/>
                  <a:ea typeface="PMingLiU-ExtB" pitchFamily="18" charset="-120"/>
                </a:rPr>
                <a:t>或是</a:t>
              </a:r>
              <a:r>
                <a:rPr lang="en-US" altLang="zh-CN" sz="1200">
                  <a:latin typeface="Calibri" pitchFamily="34" charset="0"/>
                  <a:ea typeface="PMingLiU-ExtB" pitchFamily="18" charset="-120"/>
                </a:rPr>
                <a:t>Exclude</a:t>
              </a:r>
              <a:r>
                <a:rPr lang="zh-CN" altLang="en-US" sz="1200">
                  <a:latin typeface="Calibri" pitchFamily="34" charset="0"/>
                  <a:ea typeface="PMingLiU-ExtB" pitchFamily="18" charset="-120"/>
                </a:rPr>
                <a:t>一个或多个标目</a:t>
              </a:r>
            </a:p>
            <a:p>
              <a:pPr defTabSz="320954">
                <a:buFont typeface="Times" pitchFamily="18" charset="0"/>
                <a:buChar char="•"/>
                <a:defRPr/>
              </a:pPr>
              <a:r>
                <a:rPr lang="zh-CN" altLang="en-US" sz="1200">
                  <a:latin typeface="Calibri" pitchFamily="34" charset="0"/>
                  <a:ea typeface="PMingLiU-ExtB" pitchFamily="18" charset="-120"/>
                </a:rPr>
                <a:t>在</a:t>
              </a:r>
              <a:r>
                <a:rPr lang="en-US" altLang="zh-CN" sz="1200">
                  <a:latin typeface="Calibri" pitchFamily="34" charset="0"/>
                  <a:ea typeface="PMingLiU-ExtB" pitchFamily="18" charset="-120"/>
                </a:rPr>
                <a:t>Refine Results</a:t>
              </a:r>
              <a:r>
                <a:rPr lang="zh-CN" altLang="en-US" sz="1200">
                  <a:latin typeface="Calibri" pitchFamily="34" charset="0"/>
                  <a:ea typeface="PMingLiU-ExtB" pitchFamily="18" charset="-120"/>
                </a:rPr>
                <a:t>中可结合超过  一个以上的分析项目，透过每篇标目前的勾选框勾选要结合的记录</a:t>
              </a:r>
              <a:endParaRPr lang="en-GB" sz="1200">
                <a:latin typeface="Calibri" pitchFamily="34" charset="0"/>
                <a:ea typeface="PMingLiU-ExtB" pitchFamily="18" charset="-120"/>
              </a:endParaRPr>
            </a:p>
          </p:txBody>
        </p:sp>
        <p:sp>
          <p:nvSpPr>
            <p:cNvPr id="55302" name="Line 9">
              <a:extLst>
                <a:ext uri="{FF2B5EF4-FFF2-40B4-BE49-F238E27FC236}">
                  <a16:creationId xmlns:a16="http://schemas.microsoft.com/office/drawing/2014/main" id="{A6B5113A-EA30-44DB-9D62-A85841B7E282}"/>
                </a:ext>
              </a:extLst>
            </p:cNvPr>
            <p:cNvSpPr>
              <a:spLocks noChangeShapeType="1"/>
            </p:cNvSpPr>
            <p:nvPr/>
          </p:nvSpPr>
          <p:spPr bwMode="auto">
            <a:xfrm flipH="1">
              <a:off x="8070848" y="689360"/>
              <a:ext cx="2242608" cy="687571"/>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5" name="Picture 2">
            <a:extLst>
              <a:ext uri="{FF2B5EF4-FFF2-40B4-BE49-F238E27FC236}">
                <a16:creationId xmlns:a16="http://schemas.microsoft.com/office/drawing/2014/main" id="{B47C4C3B-195E-4E44-B7E1-3D76F2A7C3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534" y="516711"/>
            <a:ext cx="1779980" cy="1146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6" name="Picture 3">
            <a:extLst>
              <a:ext uri="{FF2B5EF4-FFF2-40B4-BE49-F238E27FC236}">
                <a16:creationId xmlns:a16="http://schemas.microsoft.com/office/drawing/2014/main" id="{1FD6A4D8-32BE-41EC-ADB9-718B845B9D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4136" y="516709"/>
            <a:ext cx="1745163" cy="1146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7" name="Picture 5">
            <a:extLst>
              <a:ext uri="{FF2B5EF4-FFF2-40B4-BE49-F238E27FC236}">
                <a16:creationId xmlns:a16="http://schemas.microsoft.com/office/drawing/2014/main" id="{770B6790-4BF9-493A-9B65-3775DD0310B7}"/>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5753549" y="516161"/>
            <a:ext cx="1623307" cy="1182301"/>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8" name="Picture 6">
            <a:extLst>
              <a:ext uri="{FF2B5EF4-FFF2-40B4-BE49-F238E27FC236}">
                <a16:creationId xmlns:a16="http://schemas.microsoft.com/office/drawing/2014/main" id="{AD5E8829-0D7E-4284-8EEB-377E776AC3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243" y="1953594"/>
            <a:ext cx="1752416" cy="1175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9" name="Picture 7">
            <a:extLst>
              <a:ext uri="{FF2B5EF4-FFF2-40B4-BE49-F238E27FC236}">
                <a16:creationId xmlns:a16="http://schemas.microsoft.com/office/drawing/2014/main" id="{CE85704D-6764-4D67-BBA5-203EE63683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51283" y="1967992"/>
            <a:ext cx="1745164" cy="1167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0" name="Picture 8">
            <a:extLst>
              <a:ext uri="{FF2B5EF4-FFF2-40B4-BE49-F238E27FC236}">
                <a16:creationId xmlns:a16="http://schemas.microsoft.com/office/drawing/2014/main" id="{D89A069D-EE54-4309-A796-617D6E5B87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70616" y="1954912"/>
            <a:ext cx="1708897" cy="11823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1" name="Picture 9">
            <a:extLst>
              <a:ext uri="{FF2B5EF4-FFF2-40B4-BE49-F238E27FC236}">
                <a16:creationId xmlns:a16="http://schemas.microsoft.com/office/drawing/2014/main" id="{E383CF95-9F2A-4EEC-93B9-D076A5E49D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3449" y="516711"/>
            <a:ext cx="1710347" cy="1146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2" name="Picture 10">
            <a:extLst>
              <a:ext uri="{FF2B5EF4-FFF2-40B4-BE49-F238E27FC236}">
                <a16:creationId xmlns:a16="http://schemas.microsoft.com/office/drawing/2014/main" id="{4CFDF917-BD65-45C2-BC45-C8DE40058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54583" y="1953923"/>
            <a:ext cx="1649418" cy="1153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3" name="Picture 11">
            <a:extLst>
              <a:ext uri="{FF2B5EF4-FFF2-40B4-BE49-F238E27FC236}">
                <a16:creationId xmlns:a16="http://schemas.microsoft.com/office/drawing/2014/main" id="{C71A33FE-6AAA-46CA-B00B-286562C5BEF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9327" y="3407572"/>
            <a:ext cx="1765473" cy="101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4" name="Picture 12">
            <a:extLst>
              <a:ext uri="{FF2B5EF4-FFF2-40B4-BE49-F238E27FC236}">
                <a16:creationId xmlns:a16="http://schemas.microsoft.com/office/drawing/2014/main" id="{D8EB6994-3E36-4E27-AE97-B0A623B34EB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51283" y="3407572"/>
            <a:ext cx="1745164" cy="101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5" name="Picture 13">
            <a:extLst>
              <a:ext uri="{FF2B5EF4-FFF2-40B4-BE49-F238E27FC236}">
                <a16:creationId xmlns:a16="http://schemas.microsoft.com/office/drawing/2014/main" id="{0F7D328C-C459-4801-9BF5-322D7746BEF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70616" y="3407572"/>
            <a:ext cx="1708897" cy="101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a:extLst>
              <a:ext uri="{FF2B5EF4-FFF2-40B4-BE49-F238E27FC236}">
                <a16:creationId xmlns:a16="http://schemas.microsoft.com/office/drawing/2014/main" id="{B4A19962-6E98-4E6D-B32F-570F11AABDCD}"/>
              </a:ext>
            </a:extLst>
          </p:cNvPr>
          <p:cNvSpPr txBox="1"/>
          <p:nvPr/>
        </p:nvSpPr>
        <p:spPr>
          <a:xfrm>
            <a:off x="688447" y="307701"/>
            <a:ext cx="6645546" cy="254365"/>
          </a:xfrm>
          <a:prstGeom prst="rect">
            <a:avLst/>
          </a:prstGeom>
          <a:noFill/>
        </p:spPr>
        <p:txBody>
          <a:bodyPr wrap="square">
            <a:spAutoFit/>
          </a:bodyPr>
          <a:lstStyle/>
          <a:p>
            <a:pPr defTabSz="320954">
              <a:defRPr/>
            </a:pPr>
            <a:r>
              <a:rPr lang="zh-CN" altLang="en-US" sz="1053" dirty="0"/>
              <a:t>   控制词汇                       作者                                           作者机构                            学科分类</a:t>
            </a:r>
            <a:endParaRPr lang="en-US" sz="1053" dirty="0"/>
          </a:p>
        </p:txBody>
      </p:sp>
      <p:sp>
        <p:nvSpPr>
          <p:cNvPr id="5" name="TextBox 4">
            <a:extLst>
              <a:ext uri="{FF2B5EF4-FFF2-40B4-BE49-F238E27FC236}">
                <a16:creationId xmlns:a16="http://schemas.microsoft.com/office/drawing/2014/main" id="{AA70C460-AEB6-4C23-A6F4-331830C16220}"/>
              </a:ext>
            </a:extLst>
          </p:cNvPr>
          <p:cNvSpPr txBox="1"/>
          <p:nvPr/>
        </p:nvSpPr>
        <p:spPr>
          <a:xfrm>
            <a:off x="521995" y="1783599"/>
            <a:ext cx="6882006" cy="254365"/>
          </a:xfrm>
          <a:prstGeom prst="rect">
            <a:avLst/>
          </a:prstGeom>
          <a:noFill/>
        </p:spPr>
        <p:txBody>
          <a:bodyPr wrap="square">
            <a:spAutoFit/>
          </a:bodyPr>
          <a:lstStyle/>
          <a:p>
            <a:pPr defTabSz="320954">
              <a:defRPr/>
            </a:pPr>
            <a:r>
              <a:rPr lang="en-US" sz="1053" dirty="0"/>
              <a:t>          </a:t>
            </a:r>
            <a:r>
              <a:rPr lang="zh-CN" altLang="en-US" sz="1053" dirty="0"/>
              <a:t>国家                               文献类型                               原文语言                                 年</a:t>
            </a:r>
            <a:endParaRPr lang="en-US" sz="1053" dirty="0"/>
          </a:p>
        </p:txBody>
      </p:sp>
      <p:sp>
        <p:nvSpPr>
          <p:cNvPr id="6" name="TextBox 5">
            <a:extLst>
              <a:ext uri="{FF2B5EF4-FFF2-40B4-BE49-F238E27FC236}">
                <a16:creationId xmlns:a16="http://schemas.microsoft.com/office/drawing/2014/main" id="{8F290EE9-D00B-4348-AC44-62C2CE3F1C03}"/>
              </a:ext>
            </a:extLst>
          </p:cNvPr>
          <p:cNvSpPr txBox="1"/>
          <p:nvPr/>
        </p:nvSpPr>
        <p:spPr>
          <a:xfrm>
            <a:off x="573433" y="3165201"/>
            <a:ext cx="5180364" cy="254365"/>
          </a:xfrm>
          <a:prstGeom prst="rect">
            <a:avLst/>
          </a:prstGeom>
          <a:noFill/>
        </p:spPr>
        <p:txBody>
          <a:bodyPr wrap="square">
            <a:spAutoFit/>
          </a:bodyPr>
          <a:lstStyle/>
          <a:p>
            <a:pPr defTabSz="320954">
              <a:defRPr/>
            </a:pPr>
            <a:r>
              <a:rPr lang="en-US" sz="1053" dirty="0"/>
              <a:t>       </a:t>
            </a:r>
            <a:r>
              <a:rPr lang="zh-CN" altLang="en-US" sz="1053" dirty="0"/>
              <a:t>刊源                                 出版社                                   赞助机构</a:t>
            </a:r>
            <a:endParaRPr lang="en-US" sz="1053" dirty="0"/>
          </a:p>
        </p:txBody>
      </p:sp>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C9779-C2B7-4023-B15A-AF79269278A3}"/>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E8855BB9-B3AD-449B-837C-5EFA220B14CE}"/>
              </a:ext>
            </a:extLst>
          </p:cNvPr>
          <p:cNvPicPr>
            <a:picLocks noChangeAspect="1"/>
          </p:cNvPicPr>
          <p:nvPr/>
        </p:nvPicPr>
        <p:blipFill>
          <a:blip r:embed="rId2"/>
          <a:stretch>
            <a:fillRect/>
          </a:stretch>
        </p:blipFill>
        <p:spPr>
          <a:xfrm>
            <a:off x="307362" y="260433"/>
            <a:ext cx="8160444" cy="4115481"/>
          </a:xfrm>
          <a:prstGeom prst="rect">
            <a:avLst/>
          </a:prstGeom>
        </p:spPr>
      </p:pic>
    </p:spTree>
    <p:extLst>
      <p:ext uri="{BB962C8B-B14F-4D97-AF65-F5344CB8AC3E}">
        <p14:creationId xmlns:p14="http://schemas.microsoft.com/office/powerpoint/2010/main" val="29889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a:extLst>
              <a:ext uri="{FF2B5EF4-FFF2-40B4-BE49-F238E27FC236}">
                <a16:creationId xmlns:a16="http://schemas.microsoft.com/office/drawing/2014/main" id="{61D70D3B-9E98-4A66-8BAD-8013AA8AED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8023" y="1052989"/>
            <a:ext cx="6487953" cy="3106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345" name="標題 1">
            <a:extLst>
              <a:ext uri="{FF2B5EF4-FFF2-40B4-BE49-F238E27FC236}">
                <a16:creationId xmlns:a16="http://schemas.microsoft.com/office/drawing/2014/main" id="{E6FA7630-E33C-4FAE-B436-EE14F3339F16}"/>
              </a:ext>
            </a:extLst>
          </p:cNvPr>
          <p:cNvSpPr>
            <a:spLocks noGrp="1"/>
          </p:cNvSpPr>
          <p:nvPr>
            <p:ph type="title"/>
          </p:nvPr>
        </p:nvSpPr>
        <p:spPr>
          <a:xfrm>
            <a:off x="1375887" y="450057"/>
            <a:ext cx="6625113" cy="434340"/>
          </a:xfrm>
        </p:spPr>
        <p:txBody>
          <a:bodyPr rtlCol="0">
            <a:noAutofit/>
          </a:bodyPr>
          <a:lstStyle/>
          <a:p>
            <a:pPr defTabSz="342887">
              <a:defRPr/>
            </a:pPr>
            <a:r>
              <a:rPr lang="zh-CN" altLang="en-US" sz="2400" dirty="0">
                <a:latin typeface="Calibri" pitchFamily="34" charset="0"/>
                <a:ea typeface="PMingLiU-ExtB" pitchFamily="18" charset="-120"/>
              </a:rPr>
              <a:t>分析检索结果</a:t>
            </a:r>
            <a:endParaRPr lang="en-US" altLang="zh-CN" sz="2400" dirty="0">
              <a:latin typeface="Calibri" pitchFamily="34" charset="0"/>
              <a:ea typeface="PMingLiU-ExtB" pitchFamily="18" charset="-120"/>
            </a:endParaRPr>
          </a:p>
        </p:txBody>
      </p:sp>
      <p:grpSp>
        <p:nvGrpSpPr>
          <p:cNvPr id="5" name="Group 9">
            <a:extLst>
              <a:ext uri="{FF2B5EF4-FFF2-40B4-BE49-F238E27FC236}">
                <a16:creationId xmlns:a16="http://schemas.microsoft.com/office/drawing/2014/main" id="{1F660106-EA26-4891-8528-4EC371B4341D}"/>
              </a:ext>
            </a:extLst>
          </p:cNvPr>
          <p:cNvGrpSpPr>
            <a:grpSpLocks/>
          </p:cNvGrpSpPr>
          <p:nvPr/>
        </p:nvGrpSpPr>
        <p:grpSpPr bwMode="auto">
          <a:xfrm>
            <a:off x="2115263" y="884397"/>
            <a:ext cx="5450682" cy="1238726"/>
            <a:chOff x="7659593" y="47501"/>
            <a:chExt cx="7267699" cy="1650670"/>
          </a:xfrm>
        </p:grpSpPr>
        <p:sp>
          <p:nvSpPr>
            <p:cNvPr id="45061" name="Rectangle 7">
              <a:extLst>
                <a:ext uri="{FF2B5EF4-FFF2-40B4-BE49-F238E27FC236}">
                  <a16:creationId xmlns:a16="http://schemas.microsoft.com/office/drawing/2014/main" id="{2C2F15F0-4A4E-4A92-B6D5-C2875962D7AB}"/>
                </a:ext>
              </a:extLst>
            </p:cNvPr>
            <p:cNvSpPr>
              <a:spLocks noChangeArrowheads="1"/>
            </p:cNvSpPr>
            <p:nvPr/>
          </p:nvSpPr>
          <p:spPr bwMode="auto">
            <a:xfrm>
              <a:off x="7659593" y="1496359"/>
              <a:ext cx="617230" cy="201812"/>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57349" name="Rectangle 7">
              <a:extLst>
                <a:ext uri="{FF2B5EF4-FFF2-40B4-BE49-F238E27FC236}">
                  <a16:creationId xmlns:a16="http://schemas.microsoft.com/office/drawing/2014/main" id="{503F75C8-A222-4612-9AD9-88221431BF50}"/>
                </a:ext>
              </a:extLst>
            </p:cNvPr>
            <p:cNvSpPr>
              <a:spLocks noChangeArrowheads="1"/>
            </p:cNvSpPr>
            <p:nvPr/>
          </p:nvSpPr>
          <p:spPr bwMode="auto">
            <a:xfrm>
              <a:off x="10616203" y="47501"/>
              <a:ext cx="4311089" cy="1448858"/>
            </a:xfrm>
            <a:prstGeom prst="rect">
              <a:avLst/>
            </a:prstGeom>
            <a:solidFill>
              <a:schemeClr val="bg1"/>
            </a:solidFill>
            <a:ln w="50800" algn="ctr">
              <a:solidFill>
                <a:srgbClr val="FF0000"/>
              </a:solidFill>
              <a:miter lim="800000"/>
              <a:headEnd/>
              <a:tailEnd/>
            </a:ln>
          </p:spPr>
          <p:txBody>
            <a:bodyPr anchor="ctr"/>
            <a:lstStyle/>
            <a:p>
              <a:pPr marL="257165" indent="-257165" defTabSz="320954">
                <a:lnSpc>
                  <a:spcPct val="90000"/>
                </a:lnSpc>
                <a:spcBef>
                  <a:spcPct val="20000"/>
                </a:spcBef>
                <a:buClr>
                  <a:srgbClr val="003399"/>
                </a:buClr>
                <a:buFontTx/>
                <a:buChar char="•"/>
                <a:defRPr/>
              </a:pPr>
              <a:r>
                <a:rPr lang="zh-CN" altLang="en-US" sz="1200">
                  <a:latin typeface="Calibri" pitchFamily="34" charset="0"/>
                  <a:ea typeface="PMingLiU-ExtB" pitchFamily="18" charset="-120"/>
                </a:rPr>
                <a:t>统计图表输出的按钮会出现在每个检索结果项目的旁边</a:t>
              </a:r>
            </a:p>
            <a:p>
              <a:pPr marL="257165" indent="-257165" defTabSz="320954">
                <a:lnSpc>
                  <a:spcPct val="90000"/>
                </a:lnSpc>
                <a:spcBef>
                  <a:spcPct val="20000"/>
                </a:spcBef>
                <a:buClr>
                  <a:srgbClr val="003399"/>
                </a:buClr>
                <a:buFontTx/>
                <a:buChar char="•"/>
                <a:defRPr/>
              </a:pPr>
              <a:r>
                <a:rPr lang="zh-CN" altLang="en-US" sz="1200">
                  <a:latin typeface="Calibri" pitchFamily="34" charset="0"/>
                  <a:ea typeface="PMingLiU-ExtB" pitchFamily="18" charset="-120"/>
                </a:rPr>
                <a:t>此功能允许使用者可以透过图表形式浏览各项目结果数据，或是下载成文字文件并可以输出到其它软件中，例如：</a:t>
              </a:r>
              <a:r>
                <a:rPr lang="en-US" altLang="zh-CN" sz="1200">
                  <a:latin typeface="Calibri" pitchFamily="34" charset="0"/>
                  <a:ea typeface="PMingLiU-ExtB" pitchFamily="18" charset="-120"/>
                </a:rPr>
                <a:t>Excel</a:t>
              </a:r>
              <a:endParaRPr lang="en-US" altLang="zh-TW" sz="1200">
                <a:latin typeface="Calibri" pitchFamily="34" charset="0"/>
                <a:ea typeface="PMingLiU-ExtB" pitchFamily="18" charset="-120"/>
              </a:endParaRPr>
            </a:p>
          </p:txBody>
        </p:sp>
        <p:sp>
          <p:nvSpPr>
            <p:cNvPr id="57350" name="Line 9">
              <a:extLst>
                <a:ext uri="{FF2B5EF4-FFF2-40B4-BE49-F238E27FC236}">
                  <a16:creationId xmlns:a16="http://schemas.microsoft.com/office/drawing/2014/main" id="{033ACFD6-2390-4657-9DFC-19F0CE78AED6}"/>
                </a:ext>
              </a:extLst>
            </p:cNvPr>
            <p:cNvSpPr>
              <a:spLocks noChangeShapeType="1"/>
            </p:cNvSpPr>
            <p:nvPr/>
          </p:nvSpPr>
          <p:spPr bwMode="auto">
            <a:xfrm flipH="1">
              <a:off x="8276823" y="689111"/>
              <a:ext cx="2339380" cy="908155"/>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24684-F23F-40BC-8B99-0014DA0E07CE}"/>
              </a:ext>
            </a:extLst>
          </p:cNvPr>
          <p:cNvSpPr>
            <a:spLocks noGrp="1"/>
          </p:cNvSpPr>
          <p:nvPr>
            <p:ph type="title"/>
          </p:nvPr>
        </p:nvSpPr>
        <p:spPr/>
        <p:txBody>
          <a:bodyPr rtlCol="0">
            <a:noAutofit/>
          </a:bodyPr>
          <a:lstStyle/>
          <a:p>
            <a:pPr defTabSz="342887">
              <a:defRPr/>
            </a:pPr>
            <a:r>
              <a:rPr lang="zh-CN" altLang="en-US" sz="1500" dirty="0"/>
              <a:t>举例：只关注‘</a:t>
            </a:r>
            <a:r>
              <a:rPr lang="zh-CN" altLang="en-US" sz="1500" dirty="0">
                <a:solidFill>
                  <a:srgbClr val="FF0000"/>
                </a:solidFill>
              </a:rPr>
              <a:t>中国</a:t>
            </a:r>
            <a:r>
              <a:rPr lang="zh-CN" altLang="en-US" sz="1500" dirty="0"/>
              <a:t>’近</a:t>
            </a:r>
            <a:r>
              <a:rPr lang="en-US" altLang="zh-CN" sz="1500" dirty="0">
                <a:solidFill>
                  <a:srgbClr val="FF0000"/>
                </a:solidFill>
              </a:rPr>
              <a:t>5</a:t>
            </a:r>
            <a:r>
              <a:rPr lang="zh-CN" altLang="en-US" sz="1500" dirty="0"/>
              <a:t>年的‘</a:t>
            </a:r>
            <a:r>
              <a:rPr lang="en-US" altLang="zh-CN" sz="1500" dirty="0"/>
              <a:t>air pollution</a:t>
            </a:r>
            <a:r>
              <a:rPr lang="zh-CN" altLang="en-US" sz="1500" dirty="0"/>
              <a:t>’的研究</a:t>
            </a:r>
            <a:endParaRPr lang="en-US" sz="1500" dirty="0"/>
          </a:p>
        </p:txBody>
      </p:sp>
      <p:pic>
        <p:nvPicPr>
          <p:cNvPr id="47107" name="Picture 2">
            <a:extLst>
              <a:ext uri="{FF2B5EF4-FFF2-40B4-BE49-F238E27FC236}">
                <a16:creationId xmlns:a16="http://schemas.microsoft.com/office/drawing/2014/main" id="{BEB3844E-62E9-41C9-9D1C-3712259D1A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032987"/>
            <a:ext cx="6590824" cy="3351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108" name="Rounded Rectangle 4">
            <a:extLst>
              <a:ext uri="{FF2B5EF4-FFF2-40B4-BE49-F238E27FC236}">
                <a16:creationId xmlns:a16="http://schemas.microsoft.com/office/drawing/2014/main" id="{EC690C18-8685-4AF5-9CAF-224B209064BA}"/>
              </a:ext>
            </a:extLst>
          </p:cNvPr>
          <p:cNvSpPr>
            <a:spLocks noChangeArrowheads="1"/>
          </p:cNvSpPr>
          <p:nvPr/>
        </p:nvSpPr>
        <p:spPr bwMode="auto">
          <a:xfrm>
            <a:off x="1148715" y="1827372"/>
            <a:ext cx="1295877" cy="130016"/>
          </a:xfrm>
          <a:prstGeom prst="roundRect">
            <a:avLst>
              <a:gd name="adj" fmla="val 16667"/>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
        <p:nvSpPr>
          <p:cNvPr id="47109" name="Rounded Rectangle 6">
            <a:extLst>
              <a:ext uri="{FF2B5EF4-FFF2-40B4-BE49-F238E27FC236}">
                <a16:creationId xmlns:a16="http://schemas.microsoft.com/office/drawing/2014/main" id="{712F86D6-C994-46E9-9A23-E486AB4016B6}"/>
              </a:ext>
            </a:extLst>
          </p:cNvPr>
          <p:cNvSpPr>
            <a:spLocks noChangeArrowheads="1"/>
          </p:cNvSpPr>
          <p:nvPr/>
        </p:nvSpPr>
        <p:spPr bwMode="auto">
          <a:xfrm>
            <a:off x="1143000" y="3790474"/>
            <a:ext cx="1295877" cy="594360"/>
          </a:xfrm>
          <a:prstGeom prst="roundRect">
            <a:avLst>
              <a:gd name="adj" fmla="val 16667"/>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Tree>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標題 1">
            <a:extLst>
              <a:ext uri="{FF2B5EF4-FFF2-40B4-BE49-F238E27FC236}">
                <a16:creationId xmlns:a16="http://schemas.microsoft.com/office/drawing/2014/main" id="{EB6E5932-29C6-4A9B-834C-45752DB93A47}"/>
              </a:ext>
            </a:extLst>
          </p:cNvPr>
          <p:cNvSpPr>
            <a:spLocks noGrp="1"/>
          </p:cNvSpPr>
          <p:nvPr>
            <p:ph type="title"/>
          </p:nvPr>
        </p:nvSpPr>
        <p:spPr>
          <a:xfrm>
            <a:off x="1375887" y="450057"/>
            <a:ext cx="6625113" cy="434340"/>
          </a:xfrm>
        </p:spPr>
        <p:txBody>
          <a:bodyPr rtlCol="0">
            <a:noAutofit/>
          </a:bodyPr>
          <a:lstStyle/>
          <a:p>
            <a:pPr defTabSz="342887">
              <a:defRPr/>
            </a:pPr>
            <a:r>
              <a:rPr lang="zh-CN" altLang="en-US" sz="2400" dirty="0">
                <a:latin typeface="Calibri" pitchFamily="34" charset="0"/>
                <a:ea typeface="PMingLiU-ExtB" pitchFamily="18" charset="-120"/>
              </a:rPr>
              <a:t>分析检索结果</a:t>
            </a:r>
            <a:endParaRPr lang="en-US" altLang="zh-CN" sz="2400" dirty="0">
              <a:latin typeface="Calibri" pitchFamily="34" charset="0"/>
              <a:ea typeface="PMingLiU-ExtB" pitchFamily="18" charset="-120"/>
            </a:endParaRPr>
          </a:p>
        </p:txBody>
      </p:sp>
      <p:sp>
        <p:nvSpPr>
          <p:cNvPr id="61442" name="內容版面配置區 2">
            <a:extLst>
              <a:ext uri="{FF2B5EF4-FFF2-40B4-BE49-F238E27FC236}">
                <a16:creationId xmlns:a16="http://schemas.microsoft.com/office/drawing/2014/main" id="{FC197D8F-0DA5-42CD-B9AE-C641FE13DDD6}"/>
              </a:ext>
            </a:extLst>
          </p:cNvPr>
          <p:cNvSpPr>
            <a:spLocks noGrp="1"/>
          </p:cNvSpPr>
          <p:nvPr>
            <p:ph sz="half" idx="1"/>
          </p:nvPr>
        </p:nvSpPr>
        <p:spPr>
          <a:xfrm>
            <a:off x="1655922" y="1198722"/>
            <a:ext cx="2265998" cy="3030378"/>
          </a:xfrm>
        </p:spPr>
        <p:txBody>
          <a:bodyPr rtlCol="0">
            <a:noAutofit/>
          </a:bodyPr>
          <a:lstStyle/>
          <a:p>
            <a:pPr marL="129774" indent="-123820" defTabSz="342887">
              <a:spcAft>
                <a:spcPts val="0"/>
              </a:spcAft>
              <a:buFont typeface="Arial"/>
              <a:buChar char="•"/>
              <a:defRPr/>
            </a:pPr>
            <a:r>
              <a:rPr lang="zh-CN" altLang="en-US" dirty="0">
                <a:latin typeface="Calibri" pitchFamily="34" charset="0"/>
                <a:ea typeface="PMingLiU-ExtB" pitchFamily="18" charset="-120"/>
              </a:rPr>
              <a:t>点选    图标可以让您将图表输出成</a:t>
            </a:r>
            <a:r>
              <a:rPr lang="en-US" altLang="zh-CN" dirty="0">
                <a:latin typeface="Calibri" pitchFamily="34" charset="0"/>
                <a:ea typeface="PMingLiU-ExtB" pitchFamily="18" charset="-120"/>
              </a:rPr>
              <a:t>tab</a:t>
            </a:r>
            <a:r>
              <a:rPr lang="zh-CN" altLang="en-US" dirty="0">
                <a:latin typeface="Calibri" pitchFamily="34" charset="0"/>
                <a:ea typeface="PMingLiU-ExtB" pitchFamily="18" charset="-120"/>
              </a:rPr>
              <a:t>档案</a:t>
            </a:r>
          </a:p>
          <a:p>
            <a:pPr marL="129774" indent="-123820" defTabSz="342887">
              <a:spcAft>
                <a:spcPts val="0"/>
              </a:spcAft>
              <a:buFont typeface="Arial"/>
              <a:buChar char="•"/>
              <a:defRPr/>
            </a:pPr>
            <a:endParaRPr lang="zh-TW" altLang="en-US" dirty="0">
              <a:latin typeface="Calibri" pitchFamily="34" charset="0"/>
              <a:ea typeface="PMingLiU-ExtB" pitchFamily="18" charset="-120"/>
            </a:endParaRPr>
          </a:p>
          <a:p>
            <a:pPr marL="129774" indent="-123820" defTabSz="342887">
              <a:spcAft>
                <a:spcPts val="0"/>
              </a:spcAft>
              <a:buFont typeface="Arial"/>
              <a:buChar char="•"/>
              <a:defRPr/>
            </a:pPr>
            <a:r>
              <a:rPr lang="zh-CN" altLang="en-US" dirty="0">
                <a:latin typeface="Calibri" pitchFamily="34" charset="0"/>
                <a:ea typeface="PMingLiU-ExtB" pitchFamily="18" charset="-120"/>
              </a:rPr>
              <a:t>您也可以将输出的档案以</a:t>
            </a:r>
            <a:r>
              <a:rPr lang="en-US" altLang="zh-TW" b="1" dirty="0">
                <a:solidFill>
                  <a:srgbClr val="FF0000"/>
                </a:solidFill>
                <a:latin typeface="Calibri" pitchFamily="34" charset="0"/>
                <a:ea typeface="PMingLiU-ExtB" pitchFamily="18" charset="-120"/>
              </a:rPr>
              <a:t>Excel</a:t>
            </a:r>
            <a:r>
              <a:rPr lang="zh-CN" altLang="en-US" dirty="0">
                <a:latin typeface="Calibri" pitchFamily="34" charset="0"/>
                <a:ea typeface="PMingLiU-ExtB" pitchFamily="18" charset="-120"/>
              </a:rPr>
              <a:t>软件开启分析管理</a:t>
            </a:r>
          </a:p>
          <a:p>
            <a:pPr marL="129774" indent="-123820" defTabSz="342887">
              <a:spcAft>
                <a:spcPts val="0"/>
              </a:spcAft>
              <a:buFont typeface="Arial"/>
              <a:buChar char="•"/>
              <a:defRPr/>
            </a:pPr>
            <a:endParaRPr lang="en-US" altLang="zh-CN" dirty="0"/>
          </a:p>
        </p:txBody>
      </p:sp>
      <p:pic>
        <p:nvPicPr>
          <p:cNvPr id="48132" name="Picture 5">
            <a:extLst>
              <a:ext uri="{FF2B5EF4-FFF2-40B4-BE49-F238E27FC236}">
                <a16:creationId xmlns:a16="http://schemas.microsoft.com/office/drawing/2014/main" id="{E1EB7D07-2E5E-40FC-AFEB-AD72279E23C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54818" y="2183610"/>
            <a:ext cx="3481864" cy="229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3" name="Picture 2">
            <a:extLst>
              <a:ext uri="{FF2B5EF4-FFF2-40B4-BE49-F238E27FC236}">
                <a16:creationId xmlns:a16="http://schemas.microsoft.com/office/drawing/2014/main" id="{63DEF055-3AA6-4439-A0A0-1FA9C81B6A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4818" y="425986"/>
            <a:ext cx="3321844" cy="16116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134" name="Picture 3">
            <a:extLst>
              <a:ext uri="{FF2B5EF4-FFF2-40B4-BE49-F238E27FC236}">
                <a16:creationId xmlns:a16="http://schemas.microsoft.com/office/drawing/2014/main" id="{B53C9095-267D-4AF4-9609-2891375522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6020" y="1328738"/>
            <a:ext cx="178593" cy="222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2">
            <a:extLst>
              <a:ext uri="{FF2B5EF4-FFF2-40B4-BE49-F238E27FC236}">
                <a16:creationId xmlns:a16="http://schemas.microsoft.com/office/drawing/2014/main" id="{6B211397-5EAD-451B-A0A3-F914A540CB69}"/>
              </a:ext>
            </a:extLst>
          </p:cNvPr>
          <p:cNvSpPr>
            <a:spLocks noGrp="1" noChangeArrowheads="1"/>
          </p:cNvSpPr>
          <p:nvPr>
            <p:ph type="title"/>
          </p:nvPr>
        </p:nvSpPr>
        <p:spPr>
          <a:xfrm>
            <a:off x="1375887" y="450057"/>
            <a:ext cx="6625113" cy="434340"/>
          </a:xfrm>
        </p:spPr>
        <p:txBody>
          <a:bodyPr rtlCol="0">
            <a:noAutofit/>
          </a:bodyPr>
          <a:lstStyle/>
          <a:p>
            <a:pPr defTabSz="342887">
              <a:defRPr/>
            </a:pPr>
            <a:r>
              <a:rPr lang="en-US" altLang="zh-TW" sz="2400" dirty="0">
                <a:latin typeface="Calibri" pitchFamily="34" charset="0"/>
                <a:ea typeface="PMingLiU-ExtB" pitchFamily="18" charset="-120"/>
              </a:rPr>
              <a:t>Refine Results</a:t>
            </a:r>
            <a:r>
              <a:rPr lang="en-US" altLang="zh-CN" sz="2400" dirty="0">
                <a:latin typeface="Calibri" pitchFamily="34" charset="0"/>
                <a:ea typeface="PMingLiU-ExtB" pitchFamily="18" charset="-120"/>
              </a:rPr>
              <a:t> </a:t>
            </a:r>
            <a:r>
              <a:rPr lang="zh-CN" altLang="en-US" sz="2400" dirty="0">
                <a:latin typeface="Calibri" pitchFamily="34" charset="0"/>
                <a:ea typeface="PMingLiU-ExtB" pitchFamily="18" charset="-120"/>
              </a:rPr>
              <a:t>的用途</a:t>
            </a:r>
          </a:p>
        </p:txBody>
      </p:sp>
      <p:sp>
        <p:nvSpPr>
          <p:cNvPr id="64514" name="Rectangle 3">
            <a:extLst>
              <a:ext uri="{FF2B5EF4-FFF2-40B4-BE49-F238E27FC236}">
                <a16:creationId xmlns:a16="http://schemas.microsoft.com/office/drawing/2014/main" id="{42C9F72F-E437-4B20-8ADF-84DD43F0B8D7}"/>
              </a:ext>
            </a:extLst>
          </p:cNvPr>
          <p:cNvSpPr>
            <a:spLocks noGrp="1" noChangeArrowheads="1"/>
          </p:cNvSpPr>
          <p:nvPr>
            <p:ph type="body" idx="1"/>
          </p:nvPr>
        </p:nvSpPr>
        <p:spPr/>
        <p:txBody>
          <a:bodyPr rtlCol="0">
            <a:noAutofit/>
          </a:bodyPr>
          <a:lstStyle/>
          <a:p>
            <a:pPr marL="129774" indent="-123820" defTabSz="342887">
              <a:spcAft>
                <a:spcPts val="0"/>
              </a:spcAft>
              <a:buNone/>
              <a:defRPr/>
            </a:pPr>
            <a:r>
              <a:rPr lang="en-US" altLang="zh-CN" sz="2100">
                <a:latin typeface="Calibri" pitchFamily="34" charset="0"/>
                <a:ea typeface="PMingLiU-ExtB" pitchFamily="18" charset="-120"/>
              </a:rPr>
              <a:t>• </a:t>
            </a:r>
            <a:r>
              <a:rPr lang="zh-CN" altLang="en-US" sz="2100">
                <a:latin typeface="Calibri" pitchFamily="34" charset="0"/>
                <a:ea typeface="PMingLiU-ExtB" pitchFamily="18" charset="-120"/>
              </a:rPr>
              <a:t>了解你的同行吗，他们又有哪些成就呢？</a:t>
            </a:r>
          </a:p>
          <a:p>
            <a:pPr marL="129774" indent="-123820" defTabSz="342887">
              <a:spcAft>
                <a:spcPts val="0"/>
              </a:spcAft>
              <a:buNone/>
              <a:defRPr/>
            </a:pPr>
            <a:r>
              <a:rPr lang="en-US" altLang="zh-CN" sz="2100">
                <a:latin typeface="Calibri" pitchFamily="34" charset="0"/>
                <a:ea typeface="PMingLiU-ExtB" pitchFamily="18" charset="-120"/>
              </a:rPr>
              <a:t>• </a:t>
            </a:r>
            <a:r>
              <a:rPr lang="zh-CN" altLang="en-US" sz="2100">
                <a:latin typeface="Calibri" pitchFamily="34" charset="0"/>
                <a:ea typeface="PMingLiU-ExtB" pitchFamily="18" charset="-120"/>
              </a:rPr>
              <a:t>了解你关心的课题所涉及的领域，是否能发现新的研究方向</a:t>
            </a:r>
          </a:p>
          <a:p>
            <a:pPr marL="129774" indent="-123820" defTabSz="342887">
              <a:spcAft>
                <a:spcPts val="0"/>
              </a:spcAft>
              <a:buNone/>
              <a:defRPr/>
            </a:pPr>
            <a:r>
              <a:rPr lang="en-US" altLang="zh-CN" sz="2100">
                <a:latin typeface="Calibri" pitchFamily="34" charset="0"/>
                <a:ea typeface="PMingLiU-ExtB" pitchFamily="18" charset="-120"/>
              </a:rPr>
              <a:t>• </a:t>
            </a:r>
            <a:r>
              <a:rPr lang="zh-CN" altLang="en-US" sz="2100">
                <a:latin typeface="Calibri" pitchFamily="34" charset="0"/>
                <a:ea typeface="PMingLiU-ExtB" pitchFamily="18" charset="-120"/>
              </a:rPr>
              <a:t>了解课题所处的生命周期，通过文献计量的年代分析</a:t>
            </a:r>
          </a:p>
          <a:p>
            <a:pPr marL="129774" indent="-123820" defTabSz="342887">
              <a:spcAft>
                <a:spcPts val="0"/>
              </a:spcAft>
              <a:buNone/>
              <a:defRPr/>
            </a:pPr>
            <a:r>
              <a:rPr lang="en-US" altLang="zh-CN" sz="2100">
                <a:latin typeface="Calibri" pitchFamily="34" charset="0"/>
                <a:ea typeface="PMingLiU-ExtB" pitchFamily="18" charset="-120"/>
              </a:rPr>
              <a:t>• </a:t>
            </a:r>
            <a:r>
              <a:rPr lang="zh-CN" altLang="en-US" sz="2100">
                <a:latin typeface="Calibri" pitchFamily="34" charset="0"/>
                <a:ea typeface="PMingLiU-ExtB" pitchFamily="18" charset="-120"/>
              </a:rPr>
              <a:t>了解课题的热门期刊，作为投递文章的选择</a:t>
            </a:r>
          </a:p>
          <a:p>
            <a:pPr marL="129774" indent="-123820" defTabSz="342887">
              <a:spcAft>
                <a:spcPts val="0"/>
              </a:spcAft>
              <a:buNone/>
              <a:defRPr/>
            </a:pPr>
            <a:r>
              <a:rPr lang="en-US" altLang="zh-CN" sz="2100">
                <a:latin typeface="Calibri" pitchFamily="34" charset="0"/>
                <a:ea typeface="PMingLiU-ExtB" pitchFamily="18" charset="-120"/>
              </a:rPr>
              <a:t>• </a:t>
            </a:r>
            <a:r>
              <a:rPr lang="zh-CN" altLang="en-US" sz="2100">
                <a:latin typeface="Calibri" pitchFamily="34" charset="0"/>
                <a:ea typeface="PMingLiU-ExtB" pitchFamily="18" charset="-120"/>
              </a:rPr>
              <a:t>通过文献类型了解论文的分布</a:t>
            </a:r>
          </a:p>
          <a:p>
            <a:pPr marL="129774" indent="-123820" defTabSz="342887">
              <a:spcAft>
                <a:spcPts val="0"/>
              </a:spcAft>
              <a:buFont typeface="Arial"/>
              <a:buChar char="•"/>
              <a:defRPr/>
            </a:pPr>
            <a:endParaRPr lang="zh-CN" altLang="en-US" sz="2100">
              <a:latin typeface="Calibri" pitchFamily="34" charset="0"/>
              <a:ea typeface="PMingLiU-ExtB" pitchFamily="18" charset="-120"/>
            </a:endParaRPr>
          </a:p>
        </p:txBody>
      </p:sp>
    </p:spTree>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a:extLst>
              <a:ext uri="{FF2B5EF4-FFF2-40B4-BE49-F238E27FC236}">
                <a16:creationId xmlns:a16="http://schemas.microsoft.com/office/drawing/2014/main" id="{12BC370D-69EA-450F-92CB-1E780BA3DD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7677" y="932268"/>
            <a:ext cx="2700338" cy="3486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標題 1">
            <a:extLst>
              <a:ext uri="{FF2B5EF4-FFF2-40B4-BE49-F238E27FC236}">
                <a16:creationId xmlns:a16="http://schemas.microsoft.com/office/drawing/2014/main" id="{18C81DFA-7DA9-4FB0-9FF0-D71865574667}"/>
              </a:ext>
            </a:extLst>
          </p:cNvPr>
          <p:cNvSpPr>
            <a:spLocks noGrp="1"/>
          </p:cNvSpPr>
          <p:nvPr>
            <p:ph type="title"/>
          </p:nvPr>
        </p:nvSpPr>
        <p:spPr>
          <a:xfrm>
            <a:off x="1375887" y="388620"/>
            <a:ext cx="6625113" cy="434340"/>
          </a:xfrm>
        </p:spPr>
        <p:txBody>
          <a:bodyPr rtlCol="0">
            <a:noAutofit/>
          </a:bodyPr>
          <a:lstStyle/>
          <a:p>
            <a:pPr defTabSz="342887">
              <a:defRPr/>
            </a:pPr>
            <a:r>
              <a:rPr lang="zh-CN" altLang="en-US" sz="2400" dirty="0">
                <a:latin typeface="Calibri" pitchFamily="34" charset="0"/>
                <a:ea typeface="PMingLiU-ExtB" pitchFamily="18" charset="-120"/>
              </a:rPr>
              <a:t>经过整理的记录：详细格式</a:t>
            </a:r>
            <a:endParaRPr lang="zh-CN" altLang="en-US" sz="2400" dirty="0"/>
          </a:p>
        </p:txBody>
      </p:sp>
      <p:grpSp>
        <p:nvGrpSpPr>
          <p:cNvPr id="6" name="Group 9">
            <a:extLst>
              <a:ext uri="{FF2B5EF4-FFF2-40B4-BE49-F238E27FC236}">
                <a16:creationId xmlns:a16="http://schemas.microsoft.com/office/drawing/2014/main" id="{671A1362-BC92-4FC6-82F9-D3DF2FA3067D}"/>
              </a:ext>
            </a:extLst>
          </p:cNvPr>
          <p:cNvGrpSpPr>
            <a:grpSpLocks/>
          </p:cNvGrpSpPr>
          <p:nvPr/>
        </p:nvGrpSpPr>
        <p:grpSpPr bwMode="auto">
          <a:xfrm>
            <a:off x="553251" y="904400"/>
            <a:ext cx="6414764" cy="3753325"/>
            <a:chOff x="3087580" y="-907307"/>
            <a:chExt cx="6329551" cy="5003991"/>
          </a:xfrm>
        </p:grpSpPr>
        <p:sp>
          <p:nvSpPr>
            <p:cNvPr id="51205" name="Rectangle 7">
              <a:extLst>
                <a:ext uri="{FF2B5EF4-FFF2-40B4-BE49-F238E27FC236}">
                  <a16:creationId xmlns:a16="http://schemas.microsoft.com/office/drawing/2014/main" id="{9B8D855C-35CB-4F9F-89C5-56AAA2DBB30F}"/>
                </a:ext>
              </a:extLst>
            </p:cNvPr>
            <p:cNvSpPr>
              <a:spLocks noChangeArrowheads="1"/>
            </p:cNvSpPr>
            <p:nvPr/>
          </p:nvSpPr>
          <p:spPr bwMode="auto">
            <a:xfrm>
              <a:off x="6752663" y="-866824"/>
              <a:ext cx="2664468" cy="4666838"/>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3" name="Rectangle 7">
              <a:extLst>
                <a:ext uri="{FF2B5EF4-FFF2-40B4-BE49-F238E27FC236}">
                  <a16:creationId xmlns:a16="http://schemas.microsoft.com/office/drawing/2014/main" id="{B2A4B51F-DA5E-4201-9EBD-161280C8B397}"/>
                </a:ext>
              </a:extLst>
            </p:cNvPr>
            <p:cNvSpPr>
              <a:spLocks noChangeArrowheads="1"/>
            </p:cNvSpPr>
            <p:nvPr/>
          </p:nvSpPr>
          <p:spPr bwMode="auto">
            <a:xfrm>
              <a:off x="3087580" y="-907307"/>
              <a:ext cx="2812312" cy="5003991"/>
            </a:xfrm>
            <a:prstGeom prst="rect">
              <a:avLst/>
            </a:prstGeom>
            <a:solidFill>
              <a:schemeClr val="bg1"/>
            </a:solidFill>
            <a:ln w="50800" algn="ctr">
              <a:solidFill>
                <a:srgbClr val="FF0000"/>
              </a:solidFill>
              <a:miter lim="800000"/>
              <a:headEnd/>
              <a:tailEnd/>
            </a:ln>
          </p:spPr>
          <p:txBody>
            <a:bodyPr anchor="ctr"/>
            <a:lstStyle/>
            <a:p>
              <a:pPr defTabSz="320954">
                <a:defRPr/>
              </a:pPr>
              <a:r>
                <a:rPr lang="en-US" altLang="zh-TW" sz="1050" dirty="0">
                  <a:latin typeface="Calibri" pitchFamily="34" charset="0"/>
                  <a:ea typeface="PMingLiU-ExtB" pitchFamily="18" charset="-120"/>
                </a:rPr>
                <a:t>Authors</a:t>
              </a:r>
              <a:r>
                <a:rPr lang="zh-TW" altLang="en-US" sz="1050" dirty="0">
                  <a:latin typeface="Calibri" pitchFamily="34" charset="0"/>
                  <a:ea typeface="PMingLiU-ExtB" pitchFamily="18" charset="-120"/>
                </a:rPr>
                <a:t>：点选作者名字找到更多该作者发表的文章</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Author affiliation</a:t>
              </a:r>
              <a:r>
                <a:rPr lang="zh-TW" altLang="en-US" sz="1050" dirty="0">
                  <a:latin typeface="Calibri" pitchFamily="34" charset="0"/>
                  <a:ea typeface="PMingLiU-ExtB" pitchFamily="18" charset="-120"/>
                </a:rPr>
                <a:t>：每位作者的所属机构</a:t>
              </a:r>
            </a:p>
            <a:p>
              <a:pPr defTabSz="320954">
                <a:defRPr/>
              </a:pPr>
              <a:endParaRPr lang="zh-TW" altLang="en-US"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E-mail</a:t>
              </a:r>
              <a:r>
                <a:rPr lang="zh-TW" altLang="en-US" sz="1050" dirty="0">
                  <a:latin typeface="Calibri" pitchFamily="34" charset="0"/>
                  <a:ea typeface="PMingLiU-ExtB" pitchFamily="18" charset="-120"/>
                </a:rPr>
                <a:t>：主要作者联络信息</a:t>
              </a:r>
            </a:p>
            <a:p>
              <a:pPr defTabSz="320954">
                <a:defRPr/>
              </a:pPr>
              <a:r>
                <a:rPr lang="en-US" altLang="zh-CN" sz="1050" dirty="0">
                  <a:latin typeface="Calibri" pitchFamily="34" charset="0"/>
                  <a:ea typeface="PMingLiU-ExtB" pitchFamily="18" charset="-120"/>
                </a:rPr>
                <a:t>ISSN</a:t>
              </a:r>
              <a:r>
                <a:rPr lang="zh-CN" altLang="en-US" sz="1050" dirty="0">
                  <a:latin typeface="Calibri" pitchFamily="34" charset="0"/>
                  <a:ea typeface="PMingLiU-ExtB" pitchFamily="18" charset="-120"/>
                </a:rPr>
                <a:t>：找到更多关于这本期刊的文章</a:t>
              </a:r>
              <a:endParaRPr lang="en-US" altLang="zh-CN" sz="1050" dirty="0">
                <a:latin typeface="Calibri" pitchFamily="34" charset="0"/>
                <a:ea typeface="PMingLiU-ExtB" pitchFamily="18" charset="-120"/>
              </a:endParaRPr>
            </a:p>
            <a:p>
              <a:pPr defTabSz="320954">
                <a:defRPr/>
              </a:pPr>
              <a:endParaRPr lang="en-US" altLang="zh-CN" sz="1050" dirty="0">
                <a:latin typeface="Calibri" pitchFamily="34" charset="0"/>
                <a:ea typeface="PMingLiU-ExtB" pitchFamily="18" charset="-120"/>
              </a:endParaRPr>
            </a:p>
            <a:p>
              <a:pPr defTabSz="320954">
                <a:defRPr/>
              </a:pPr>
              <a:r>
                <a:rPr lang="en-US" altLang="zh-CN" sz="1050" dirty="0">
                  <a:latin typeface="Calibri" pitchFamily="34" charset="0"/>
                  <a:ea typeface="PMingLiU-ExtB" pitchFamily="18" charset="-120"/>
                </a:rPr>
                <a:t>Corresponding Author</a:t>
              </a:r>
              <a:r>
                <a:rPr lang="zh-CN" altLang="en-US" sz="1050" dirty="0">
                  <a:latin typeface="Calibri" pitchFamily="34" charset="0"/>
                  <a:ea typeface="PMingLiU-ExtB" pitchFamily="18" charset="-120"/>
                </a:rPr>
                <a:t>： 通讯作者</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Abstract</a:t>
              </a:r>
              <a:r>
                <a:rPr lang="zh-TW" altLang="en-US" sz="1050" dirty="0">
                  <a:latin typeface="Calibri" pitchFamily="34" charset="0"/>
                  <a:ea typeface="PMingLiU-ExtB" pitchFamily="18" charset="-120"/>
                </a:rPr>
                <a:t>：文章内容摘要</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Main heading</a:t>
              </a:r>
              <a:r>
                <a:rPr lang="zh-TW" altLang="en-US" sz="1050" dirty="0">
                  <a:latin typeface="Calibri" pitchFamily="34" charset="0"/>
                  <a:ea typeface="PMingLiU-ExtB" pitchFamily="18" charset="-120"/>
                </a:rPr>
                <a:t>：主要主题</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Controlled term</a:t>
              </a:r>
              <a:r>
                <a:rPr lang="zh-TW" altLang="en-US" sz="1050" dirty="0">
                  <a:latin typeface="Calibri" pitchFamily="34" charset="0"/>
                  <a:ea typeface="PMingLiU-ExtB" pitchFamily="18" charset="-120"/>
                </a:rPr>
                <a:t>：索引词汇标准</a:t>
              </a:r>
            </a:p>
            <a:p>
              <a:pPr defTabSz="320954">
                <a:defRPr/>
              </a:pPr>
              <a:endParaRPr lang="zh-TW" altLang="en-GB"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Uncontrolled term</a:t>
              </a:r>
              <a:r>
                <a:rPr lang="zh-TW" altLang="en-US" sz="1050" dirty="0">
                  <a:latin typeface="Calibri" pitchFamily="34" charset="0"/>
                  <a:ea typeface="PMingLiU-ExtB" pitchFamily="18" charset="-120"/>
                </a:rPr>
                <a:t>：相关主题的广义分类</a:t>
              </a:r>
            </a:p>
            <a:p>
              <a:pPr defTabSz="320954">
                <a:defRPr/>
              </a:pPr>
              <a:endParaRPr lang="zh-TW" altLang="en-GB"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Classification code</a:t>
              </a:r>
              <a:r>
                <a:rPr lang="zh-TW" altLang="en-US" sz="1050" dirty="0">
                  <a:latin typeface="Calibri" pitchFamily="34" charset="0"/>
                  <a:ea typeface="PMingLiU-ExtB" pitchFamily="18" charset="-120"/>
                </a:rPr>
                <a:t>：在来源中其它附加优势的字汇和词组</a:t>
              </a:r>
            </a:p>
          </p:txBody>
        </p:sp>
        <p:sp>
          <p:nvSpPr>
            <p:cNvPr id="51206" name="Line 9">
              <a:extLst>
                <a:ext uri="{FF2B5EF4-FFF2-40B4-BE49-F238E27FC236}">
                  <a16:creationId xmlns:a16="http://schemas.microsoft.com/office/drawing/2014/main" id="{29D82C4A-4618-4134-AA91-F39BF2B6F83C}"/>
                </a:ext>
              </a:extLst>
            </p:cNvPr>
            <p:cNvSpPr>
              <a:spLocks noChangeShapeType="1"/>
            </p:cNvSpPr>
            <p:nvPr/>
          </p:nvSpPr>
          <p:spPr bwMode="auto">
            <a:xfrm flipV="1">
              <a:off x="6007268" y="294384"/>
              <a:ext cx="674160" cy="2162"/>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標題 3">
            <a:extLst>
              <a:ext uri="{FF2B5EF4-FFF2-40B4-BE49-F238E27FC236}">
                <a16:creationId xmlns:a16="http://schemas.microsoft.com/office/drawing/2014/main" id="{BBD12D69-7C29-4B0C-AE5E-A9A34279A87E}"/>
              </a:ext>
            </a:extLst>
          </p:cNvPr>
          <p:cNvSpPr>
            <a:spLocks noGrp="1"/>
          </p:cNvSpPr>
          <p:nvPr>
            <p:ph type="title"/>
          </p:nvPr>
        </p:nvSpPr>
        <p:spPr>
          <a:xfrm>
            <a:off x="3150394" y="1937385"/>
            <a:ext cx="2947511" cy="571500"/>
          </a:xfrm>
        </p:spPr>
        <p:txBody>
          <a:bodyPr rtlCol="0">
            <a:noAutofit/>
          </a:bodyPr>
          <a:lstStyle/>
          <a:p>
            <a:pPr defTabSz="342887">
              <a:defRPr/>
            </a:pPr>
            <a:r>
              <a:rPr lang="zh-CN" altLang="en-GB" sz="3300" dirty="0">
                <a:latin typeface="Calibri" pitchFamily="34" charset="0"/>
                <a:ea typeface="PMingLiU-ExtB" pitchFamily="18" charset="-120"/>
              </a:rPr>
              <a:t>管理检索结果</a:t>
            </a:r>
            <a:endParaRPr lang="zh-CN" altLang="en-US" sz="3300" dirty="0">
              <a:latin typeface="Calibri" pitchFamily="34" charset="0"/>
              <a:ea typeface="PMingLiU-ExtB" pitchFamily="18" charset="-120"/>
            </a:endParaRPr>
          </a:p>
        </p:txBody>
      </p:sp>
      <p:sp>
        <p:nvSpPr>
          <p:cNvPr id="53252" name="矩形 7">
            <a:extLst>
              <a:ext uri="{FF2B5EF4-FFF2-40B4-BE49-F238E27FC236}">
                <a16:creationId xmlns:a16="http://schemas.microsoft.com/office/drawing/2014/main" id="{2A113B18-3D0F-40E0-9F58-5F3354141246}"/>
              </a:ext>
            </a:extLst>
          </p:cNvPr>
          <p:cNvSpPr>
            <a:spLocks noChangeArrowheads="1"/>
          </p:cNvSpPr>
          <p:nvPr/>
        </p:nvSpPr>
        <p:spPr bwMode="auto">
          <a:xfrm>
            <a:off x="1980248" y="2956084"/>
            <a:ext cx="5477828" cy="47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buFont typeface="Times" panose="02020603050405020304" pitchFamily="18" charset="0"/>
              <a:buNone/>
            </a:pPr>
            <a:r>
              <a:rPr lang="en-US" altLang="zh-TW" sz="990" b="1">
                <a:solidFill>
                  <a:srgbClr val="0070C0"/>
                </a:solidFill>
                <a:latin typeface="Calibri" panose="020F0502020204030204" pitchFamily="34" charset="0"/>
                <a:ea typeface="PMingLiU-ExtB" panose="02020500000000000000" pitchFamily="18" charset="-120"/>
              </a:rPr>
              <a:t>Blog/E-mail/</a:t>
            </a:r>
            <a:r>
              <a:rPr lang="zh-TW" altLang="en-US" sz="990" b="1">
                <a:solidFill>
                  <a:srgbClr val="0070C0"/>
                </a:solidFill>
                <a:latin typeface="Calibri" panose="020F0502020204030204" pitchFamily="34" charset="0"/>
                <a:ea typeface="PMingLiU-ExtB" panose="02020500000000000000" pitchFamily="18" charset="-120"/>
              </a:rPr>
              <a:t>打印</a:t>
            </a:r>
            <a:r>
              <a:rPr lang="en-US" altLang="zh-TW" sz="990" b="1">
                <a:solidFill>
                  <a:srgbClr val="0070C0"/>
                </a:solidFill>
                <a:latin typeface="Calibri" panose="020F0502020204030204" pitchFamily="34" charset="0"/>
                <a:ea typeface="PMingLiU-ExtB" panose="02020500000000000000" pitchFamily="18" charset="-120"/>
              </a:rPr>
              <a:t>/</a:t>
            </a:r>
          </a:p>
          <a:p>
            <a:pPr algn="ctr" eaLnBrk="1" hangingPunct="1">
              <a:spcBef>
                <a:spcPct val="50000"/>
              </a:spcBef>
              <a:buFont typeface="Times" panose="02020603050405020304" pitchFamily="18" charset="0"/>
              <a:buNone/>
            </a:pPr>
            <a:r>
              <a:rPr lang="zh-CN" altLang="en-US" sz="990" b="1">
                <a:solidFill>
                  <a:srgbClr val="0070C0"/>
                </a:solidFill>
                <a:latin typeface="Calibri" panose="020F0502020204030204" pitchFamily="34" charset="0"/>
                <a:ea typeface="PMingLiU-ExtB" panose="02020500000000000000" pitchFamily="18" charset="-120"/>
              </a:rPr>
              <a:t>下载书目信息</a:t>
            </a:r>
            <a:r>
              <a:rPr lang="en-US" altLang="zh-CN" sz="990" b="1">
                <a:solidFill>
                  <a:srgbClr val="0070C0"/>
                </a:solidFill>
                <a:latin typeface="Calibri" panose="020F0502020204030204" pitchFamily="34" charset="0"/>
                <a:ea typeface="PMingLiU-ExtB" panose="02020500000000000000" pitchFamily="18" charset="-120"/>
              </a:rPr>
              <a:t>/</a:t>
            </a:r>
            <a:r>
              <a:rPr lang="zh-CN" altLang="en-US" sz="990" b="1">
                <a:solidFill>
                  <a:srgbClr val="0070C0"/>
                </a:solidFill>
                <a:latin typeface="Calibri" panose="020F0502020204030204" pitchFamily="34" charset="0"/>
                <a:ea typeface="PMingLiU-ExtB" panose="02020500000000000000" pitchFamily="18" charset="-120"/>
              </a:rPr>
              <a:t>存到我的数据夹</a:t>
            </a:r>
            <a:endParaRPr lang="zh-CN" altLang="en-US" sz="990" b="1">
              <a:solidFill>
                <a:srgbClr val="0070C0"/>
              </a:solidFill>
              <a:ea typeface="MS PGothic" panose="020B0600070205080204" pitchFamily="34" charset="-128"/>
            </a:endParaRPr>
          </a:p>
        </p:txBody>
      </p:sp>
    </p:spTree>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a:extLst>
              <a:ext uri="{FF2B5EF4-FFF2-40B4-BE49-F238E27FC236}">
                <a16:creationId xmlns:a16="http://schemas.microsoft.com/office/drawing/2014/main" id="{ECB4DB4F-6F50-48FB-82EE-68A787ADFD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852870"/>
            <a:ext cx="7022307" cy="2500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633" name="標題 1">
            <a:extLst>
              <a:ext uri="{FF2B5EF4-FFF2-40B4-BE49-F238E27FC236}">
                <a16:creationId xmlns:a16="http://schemas.microsoft.com/office/drawing/2014/main" id="{ACD2D4CB-67F0-4A0E-A950-F968967F6918}"/>
              </a:ext>
            </a:extLst>
          </p:cNvPr>
          <p:cNvSpPr>
            <a:spLocks noGrp="1"/>
          </p:cNvSpPr>
          <p:nvPr>
            <p:ph type="title"/>
          </p:nvPr>
        </p:nvSpPr>
        <p:spPr>
          <a:xfrm>
            <a:off x="1375887" y="450057"/>
            <a:ext cx="6625113" cy="434340"/>
          </a:xfrm>
        </p:spPr>
        <p:txBody>
          <a:bodyPr rtlCol="0">
            <a:noAutofit/>
          </a:bodyPr>
          <a:lstStyle/>
          <a:p>
            <a:pPr defTabSz="342887">
              <a:defRPr/>
            </a:pPr>
            <a:r>
              <a:rPr lang="zh-CN" altLang="en-US" sz="2400">
                <a:latin typeface="PMingLiU-ExtB" pitchFamily="18" charset="-120"/>
                <a:ea typeface="PMingLiU-ExtB" pitchFamily="18" charset="-120"/>
              </a:rPr>
              <a:t>有五种选项保存需要的文章</a:t>
            </a:r>
          </a:p>
        </p:txBody>
      </p:sp>
      <p:sp>
        <p:nvSpPr>
          <p:cNvPr id="7" name="Rectangle 7">
            <a:extLst>
              <a:ext uri="{FF2B5EF4-FFF2-40B4-BE49-F238E27FC236}">
                <a16:creationId xmlns:a16="http://schemas.microsoft.com/office/drawing/2014/main" id="{542C5C47-F032-4E8B-90C6-F2746DD3D23B}"/>
              </a:ext>
            </a:extLst>
          </p:cNvPr>
          <p:cNvSpPr>
            <a:spLocks noChangeArrowheads="1"/>
          </p:cNvSpPr>
          <p:nvPr/>
        </p:nvSpPr>
        <p:spPr bwMode="auto">
          <a:xfrm>
            <a:off x="2380298" y="1650653"/>
            <a:ext cx="2431733" cy="224314"/>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pic>
        <p:nvPicPr>
          <p:cNvPr id="55301" name="Picture 3">
            <a:extLst>
              <a:ext uri="{FF2B5EF4-FFF2-40B4-BE49-F238E27FC236}">
                <a16:creationId xmlns:a16="http://schemas.microsoft.com/office/drawing/2014/main" id="{0D2C1957-5CAE-423F-8BD7-BB86F46E09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4708" y="1949262"/>
            <a:ext cx="4226243" cy="2598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3C6923FB-75D2-4C48-83FC-032A26B2B54C}"/>
              </a:ext>
            </a:extLst>
          </p:cNvPr>
          <p:cNvSpPr>
            <a:spLocks noChangeArrowheads="1"/>
          </p:cNvSpPr>
          <p:nvPr/>
        </p:nvSpPr>
        <p:spPr bwMode="auto">
          <a:xfrm>
            <a:off x="3374708" y="1999268"/>
            <a:ext cx="4226243" cy="2548890"/>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9" name="Line 9">
            <a:extLst>
              <a:ext uri="{FF2B5EF4-FFF2-40B4-BE49-F238E27FC236}">
                <a16:creationId xmlns:a16="http://schemas.microsoft.com/office/drawing/2014/main" id="{8CAFA47D-22D1-47F8-AC4A-3E194A423885}"/>
              </a:ext>
            </a:extLst>
          </p:cNvPr>
          <p:cNvSpPr>
            <a:spLocks noChangeShapeType="1"/>
          </p:cNvSpPr>
          <p:nvPr/>
        </p:nvSpPr>
        <p:spPr bwMode="auto">
          <a:xfrm>
            <a:off x="3826193" y="1856393"/>
            <a:ext cx="0" cy="157163"/>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3">
            <a:extLst>
              <a:ext uri="{FF2B5EF4-FFF2-40B4-BE49-F238E27FC236}">
                <a16:creationId xmlns:a16="http://schemas.microsoft.com/office/drawing/2014/main" id="{14B7ED7B-BE68-40B3-9891-9D819B1B33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545" y="2658905"/>
            <a:ext cx="3811905" cy="990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347" name="Picture 2">
            <a:extLst>
              <a:ext uri="{FF2B5EF4-FFF2-40B4-BE49-F238E27FC236}">
                <a16:creationId xmlns:a16="http://schemas.microsoft.com/office/drawing/2014/main" id="{48FC7C49-A4BA-400F-967E-FE4D752ADA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3025" y="914400"/>
            <a:ext cx="6580823" cy="2727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874" name="標題 1">
            <a:extLst>
              <a:ext uri="{FF2B5EF4-FFF2-40B4-BE49-F238E27FC236}">
                <a16:creationId xmlns:a16="http://schemas.microsoft.com/office/drawing/2014/main" id="{5AB67C39-582F-4AEE-8E6F-F1C1EA7520FD}"/>
              </a:ext>
            </a:extLst>
          </p:cNvPr>
          <p:cNvSpPr>
            <a:spLocks noGrp="1"/>
          </p:cNvSpPr>
          <p:nvPr>
            <p:ph type="title"/>
          </p:nvPr>
        </p:nvSpPr>
        <p:spPr>
          <a:xfrm>
            <a:off x="1375887" y="450057"/>
            <a:ext cx="6625113" cy="434340"/>
          </a:xfrm>
        </p:spPr>
        <p:txBody>
          <a:bodyPr rtlCol="0">
            <a:noAutofit/>
          </a:bodyPr>
          <a:lstStyle/>
          <a:p>
            <a:pPr defTabSz="342887">
              <a:defRPr/>
            </a:pPr>
            <a:r>
              <a:rPr lang="zh-CN" altLang="en-US" sz="2400">
                <a:latin typeface="PMingLiU-ExtB" pitchFamily="18" charset="-120"/>
                <a:ea typeface="PMingLiU-ExtB" pitchFamily="18" charset="-120"/>
              </a:rPr>
              <a:t>存到我的资料夹</a:t>
            </a:r>
          </a:p>
        </p:txBody>
      </p:sp>
      <p:grpSp>
        <p:nvGrpSpPr>
          <p:cNvPr id="10" name="Group 9">
            <a:extLst>
              <a:ext uri="{FF2B5EF4-FFF2-40B4-BE49-F238E27FC236}">
                <a16:creationId xmlns:a16="http://schemas.microsoft.com/office/drawing/2014/main" id="{9ABE6977-969B-4B1F-A828-82ABCF53E337}"/>
              </a:ext>
            </a:extLst>
          </p:cNvPr>
          <p:cNvGrpSpPr>
            <a:grpSpLocks/>
          </p:cNvGrpSpPr>
          <p:nvPr/>
        </p:nvGrpSpPr>
        <p:grpSpPr bwMode="auto">
          <a:xfrm>
            <a:off x="2763203" y="2353152"/>
            <a:ext cx="4266248" cy="1295876"/>
            <a:chOff x="5248779" y="-688065"/>
            <a:chExt cx="4417506" cy="2189788"/>
          </a:xfrm>
        </p:grpSpPr>
        <p:sp>
          <p:nvSpPr>
            <p:cNvPr id="57356" name="Rectangle 7">
              <a:extLst>
                <a:ext uri="{FF2B5EF4-FFF2-40B4-BE49-F238E27FC236}">
                  <a16:creationId xmlns:a16="http://schemas.microsoft.com/office/drawing/2014/main" id="{4EC63891-B929-482D-A622-E429AF8B5172}"/>
                </a:ext>
              </a:extLst>
            </p:cNvPr>
            <p:cNvSpPr>
              <a:spLocks noChangeArrowheads="1"/>
            </p:cNvSpPr>
            <p:nvPr/>
          </p:nvSpPr>
          <p:spPr bwMode="auto">
            <a:xfrm>
              <a:off x="5736983" y="-123114"/>
              <a:ext cx="3929302" cy="1624837"/>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79882" name="Rectangle 7">
              <a:extLst>
                <a:ext uri="{FF2B5EF4-FFF2-40B4-BE49-F238E27FC236}">
                  <a16:creationId xmlns:a16="http://schemas.microsoft.com/office/drawing/2014/main" id="{4B4B497E-75DF-4E17-B253-72D3B2CB4148}"/>
                </a:ext>
              </a:extLst>
            </p:cNvPr>
            <p:cNvSpPr>
              <a:spLocks noChangeArrowheads="1"/>
            </p:cNvSpPr>
            <p:nvPr/>
          </p:nvSpPr>
          <p:spPr bwMode="auto">
            <a:xfrm>
              <a:off x="5248779" y="-688065"/>
              <a:ext cx="701238" cy="263160"/>
            </a:xfrm>
            <a:prstGeom prst="rect">
              <a:avLst/>
            </a:prstGeom>
            <a:noFill/>
            <a:ln w="50800" algn="ctr">
              <a:solidFill>
                <a:srgbClr val="FF0000"/>
              </a:solidFill>
              <a:miter lim="800000"/>
              <a:headEnd/>
              <a:tailEnd/>
            </a:ln>
          </p:spPr>
          <p:txBody>
            <a:bodyPr anchor="ctr"/>
            <a:lstStyle/>
            <a:p>
              <a:pPr defTabSz="320954">
                <a:defRPr/>
              </a:pPr>
              <a:r>
                <a:rPr lang="zh-TW" altLang="en-US" sz="1050">
                  <a:latin typeface="Calibri" pitchFamily="34" charset="0"/>
                  <a:ea typeface="PMingLiU-ExtB" pitchFamily="18" charset="-120"/>
                </a:rPr>
                <a:t>：</a:t>
              </a:r>
            </a:p>
          </p:txBody>
        </p:sp>
        <p:sp>
          <p:nvSpPr>
            <p:cNvPr id="79883" name="Line 9">
              <a:extLst>
                <a:ext uri="{FF2B5EF4-FFF2-40B4-BE49-F238E27FC236}">
                  <a16:creationId xmlns:a16="http://schemas.microsoft.com/office/drawing/2014/main" id="{5AEA0FD8-DF15-452A-B80D-A2D252A3CE29}"/>
                </a:ext>
              </a:extLst>
            </p:cNvPr>
            <p:cNvSpPr>
              <a:spLocks noChangeShapeType="1"/>
            </p:cNvSpPr>
            <p:nvPr/>
          </p:nvSpPr>
          <p:spPr bwMode="auto">
            <a:xfrm>
              <a:off x="5451458" y="-444219"/>
              <a:ext cx="267772" cy="364563"/>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14" name="Rectangle 7">
            <a:extLst>
              <a:ext uri="{FF2B5EF4-FFF2-40B4-BE49-F238E27FC236}">
                <a16:creationId xmlns:a16="http://schemas.microsoft.com/office/drawing/2014/main" id="{F1B88305-A1BE-47C7-983C-5C3F1C6AEFCC}"/>
              </a:ext>
            </a:extLst>
          </p:cNvPr>
          <p:cNvSpPr>
            <a:spLocks noChangeArrowheads="1"/>
          </p:cNvSpPr>
          <p:nvPr/>
        </p:nvSpPr>
        <p:spPr bwMode="auto">
          <a:xfrm>
            <a:off x="2763203" y="3950494"/>
            <a:ext cx="4609148" cy="1105853"/>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15" name="AutoShape 5">
            <a:extLst>
              <a:ext uri="{FF2B5EF4-FFF2-40B4-BE49-F238E27FC236}">
                <a16:creationId xmlns:a16="http://schemas.microsoft.com/office/drawing/2014/main" id="{83A26813-63AB-4211-8CC6-7531965E08E6}"/>
              </a:ext>
            </a:extLst>
          </p:cNvPr>
          <p:cNvSpPr>
            <a:spLocks noChangeArrowheads="1"/>
          </p:cNvSpPr>
          <p:nvPr/>
        </p:nvSpPr>
        <p:spPr bwMode="auto">
          <a:xfrm>
            <a:off x="5329238" y="2886075"/>
            <a:ext cx="240030" cy="284322"/>
          </a:xfrm>
          <a:prstGeom prst="downArrow">
            <a:avLst>
              <a:gd name="adj1" fmla="val 50000"/>
              <a:gd name="adj2" fmla="val 39912"/>
            </a:avLst>
          </a:prstGeom>
          <a:solidFill>
            <a:schemeClr val="accent1"/>
          </a:solidFill>
          <a:ln w="9525">
            <a:solidFill>
              <a:schemeClr val="tx1"/>
            </a:solidFill>
            <a:miter lim="800000"/>
            <a:headEnd/>
            <a:tailEnd/>
          </a:ln>
        </p:spPr>
        <p:txBody>
          <a:bodyPr vert="eaVert" wrap="none"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zh-CN" sz="990">
              <a:ea typeface="MS PGothic" panose="020B0600070205080204" pitchFamily="34" charset="-128"/>
            </a:endParaRPr>
          </a:p>
        </p:txBody>
      </p:sp>
      <p:sp>
        <p:nvSpPr>
          <p:cNvPr id="57352" name="內容版面配置區 3">
            <a:extLst>
              <a:ext uri="{FF2B5EF4-FFF2-40B4-BE49-F238E27FC236}">
                <a16:creationId xmlns:a16="http://schemas.microsoft.com/office/drawing/2014/main" id="{9581BFDE-38DA-4EEB-B50A-42F78E7E3983}"/>
              </a:ext>
            </a:extLst>
          </p:cNvPr>
          <p:cNvSpPr txBox="1">
            <a:spLocks noChangeArrowheads="1"/>
          </p:cNvSpPr>
          <p:nvPr/>
        </p:nvSpPr>
        <p:spPr bwMode="auto">
          <a:xfrm>
            <a:off x="4670584" y="525780"/>
            <a:ext cx="3330416" cy="267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90000"/>
              </a:lnSpc>
              <a:spcBef>
                <a:spcPct val="50000"/>
              </a:spcBef>
              <a:buFont typeface="Times" panose="02020603050405020304" pitchFamily="18" charset="0"/>
              <a:buNone/>
            </a:pPr>
            <a:r>
              <a:rPr lang="zh-CN" altLang="en-US" sz="900" b="1">
                <a:solidFill>
                  <a:srgbClr val="FF0000"/>
                </a:solidFill>
                <a:latin typeface="Calibri" panose="020F0502020204030204" pitchFamily="34" charset="0"/>
                <a:ea typeface="PMingLiU-ExtB" panose="02020500000000000000" pitchFamily="18" charset="-120"/>
              </a:rPr>
              <a:t>注意，此为个人化功能，需注册及登录后才能使用。</a:t>
            </a:r>
            <a:endParaRPr lang="zh-TW" altLang="en-US" sz="900" b="1">
              <a:solidFill>
                <a:srgbClr val="FF0000"/>
              </a:solidFill>
              <a:latin typeface="Calibri" panose="020F0502020204030204" pitchFamily="34" charset="0"/>
              <a:ea typeface="PMingLiU-ExtB" panose="02020500000000000000" pitchFamily="18" charset="-120"/>
            </a:endParaRPr>
          </a:p>
        </p:txBody>
      </p:sp>
      <p:pic>
        <p:nvPicPr>
          <p:cNvPr id="57353" name="Picture 4">
            <a:extLst>
              <a:ext uri="{FF2B5EF4-FFF2-40B4-BE49-F238E27FC236}">
                <a16:creationId xmlns:a16="http://schemas.microsoft.com/office/drawing/2014/main" id="{F4B953E5-063E-4AD2-92DC-9C9EB75C33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4690" y="2688908"/>
            <a:ext cx="3794760"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Line 9">
            <a:extLst>
              <a:ext uri="{FF2B5EF4-FFF2-40B4-BE49-F238E27FC236}">
                <a16:creationId xmlns:a16="http://schemas.microsoft.com/office/drawing/2014/main" id="{58D4C0D6-21F5-4E4C-824E-8C6A7C18A044}"/>
              </a:ext>
            </a:extLst>
          </p:cNvPr>
          <p:cNvSpPr>
            <a:spLocks noChangeShapeType="1"/>
          </p:cNvSpPr>
          <p:nvPr/>
        </p:nvSpPr>
        <p:spPr bwMode="auto">
          <a:xfrm>
            <a:off x="4634865" y="3649028"/>
            <a:ext cx="0" cy="301467"/>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pic>
        <p:nvPicPr>
          <p:cNvPr id="57355" name="Picture 5">
            <a:extLst>
              <a:ext uri="{FF2B5EF4-FFF2-40B4-BE49-F238E27FC236}">
                <a16:creationId xmlns:a16="http://schemas.microsoft.com/office/drawing/2014/main" id="{D4D8E0E7-C5F2-4A1A-A38D-D78B2C6162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1731" y="3933349"/>
            <a:ext cx="4609148" cy="11058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2" presetClass="entr" presetSubtype="4"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down)">
                                      <p:cBhvr>
                                        <p:cTn id="13" dur="500"/>
                                        <p:tgtEl>
                                          <p:spTgt spid="15"/>
                                        </p:tgtEl>
                                      </p:cBhvr>
                                    </p:animEffect>
                                  </p:childTnLst>
                                </p:cTn>
                              </p:par>
                              <p:par>
                                <p:cTn id="14" presetID="2" presetClass="entr" presetSubtype="4"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500" fill="hold"/>
                                        <p:tgtEl>
                                          <p:spTgt spid="14"/>
                                        </p:tgtEl>
                                        <p:attrNameLst>
                                          <p:attrName>ppt_x</p:attrName>
                                        </p:attrNameLst>
                                      </p:cBhvr>
                                      <p:tavLst>
                                        <p:tav tm="0">
                                          <p:val>
                                            <p:strVal val="#ppt_x"/>
                                          </p:val>
                                        </p:tav>
                                        <p:tav tm="100000">
                                          <p:val>
                                            <p:strVal val="#ppt_x"/>
                                          </p:val>
                                        </p:tav>
                                      </p:tavLst>
                                    </p:anim>
                                    <p:anim calcmode="lin" valueType="num">
                                      <p:cBhvr additive="base">
                                        <p:cTn id="17"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6F074-C21B-48E6-BD38-EA873C159653}"/>
              </a:ext>
            </a:extLst>
          </p:cNvPr>
          <p:cNvSpPr>
            <a:spLocks noGrp="1"/>
          </p:cNvSpPr>
          <p:nvPr>
            <p:ph type="title"/>
          </p:nvPr>
        </p:nvSpPr>
        <p:spPr/>
        <p:txBody>
          <a:bodyPr rtlCol="0">
            <a:noAutofit/>
          </a:bodyPr>
          <a:lstStyle/>
          <a:p>
            <a:pPr defTabSz="342887">
              <a:defRPr/>
            </a:pPr>
            <a:r>
              <a:rPr lang="zh-CN" altLang="en-US" sz="1500" dirty="0"/>
              <a:t>标签功能</a:t>
            </a:r>
            <a:endParaRPr lang="en-US" sz="1500" dirty="0"/>
          </a:p>
        </p:txBody>
      </p:sp>
      <p:sp>
        <p:nvSpPr>
          <p:cNvPr id="3" name="Content Placeholder 2">
            <a:extLst>
              <a:ext uri="{FF2B5EF4-FFF2-40B4-BE49-F238E27FC236}">
                <a16:creationId xmlns:a16="http://schemas.microsoft.com/office/drawing/2014/main" id="{D1C8ACAA-4298-4BC6-857E-5E805C494432}"/>
              </a:ext>
            </a:extLst>
          </p:cNvPr>
          <p:cNvSpPr>
            <a:spLocks noGrp="1"/>
          </p:cNvSpPr>
          <p:nvPr>
            <p:ph idx="1"/>
          </p:nvPr>
        </p:nvSpPr>
        <p:spPr/>
        <p:txBody>
          <a:bodyPr rtlCol="0">
            <a:noAutofit/>
          </a:bodyPr>
          <a:lstStyle/>
          <a:p>
            <a:pPr marL="129774" indent="-123820" defTabSz="342887">
              <a:spcAft>
                <a:spcPts val="0"/>
              </a:spcAft>
              <a:buFont typeface="Arial"/>
              <a:buChar char="•"/>
              <a:defRPr/>
            </a:pPr>
            <a:endParaRPr lang="en-US" sz="1500" dirty="0"/>
          </a:p>
        </p:txBody>
      </p:sp>
      <p:pic>
        <p:nvPicPr>
          <p:cNvPr id="59396" name="Picture 2">
            <a:extLst>
              <a:ext uri="{FF2B5EF4-FFF2-40B4-BE49-F238E27FC236}">
                <a16:creationId xmlns:a16="http://schemas.microsoft.com/office/drawing/2014/main" id="{75343485-4F24-46CA-9105-279855DC3A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308" y="1058704"/>
            <a:ext cx="6510814" cy="21817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a:extLst>
              <a:ext uri="{FF2B5EF4-FFF2-40B4-BE49-F238E27FC236}">
                <a16:creationId xmlns:a16="http://schemas.microsoft.com/office/drawing/2014/main" id="{9E4BBAF4-D7F0-4FAC-B4EF-FD7986774D05}"/>
              </a:ext>
            </a:extLst>
          </p:cNvPr>
          <p:cNvGrpSpPr>
            <a:grpSpLocks/>
          </p:cNvGrpSpPr>
          <p:nvPr/>
        </p:nvGrpSpPr>
        <p:grpSpPr bwMode="auto">
          <a:xfrm>
            <a:off x="5553552" y="2154555"/>
            <a:ext cx="1801653" cy="1085850"/>
            <a:chOff x="4083888" y="-688065"/>
            <a:chExt cx="1865792" cy="1833870"/>
          </a:xfrm>
        </p:grpSpPr>
        <p:sp>
          <p:nvSpPr>
            <p:cNvPr id="59398" name="Rectangle 7">
              <a:extLst>
                <a:ext uri="{FF2B5EF4-FFF2-40B4-BE49-F238E27FC236}">
                  <a16:creationId xmlns:a16="http://schemas.microsoft.com/office/drawing/2014/main" id="{C46F2109-71F7-4401-97D7-6B2C6C71C83B}"/>
                </a:ext>
              </a:extLst>
            </p:cNvPr>
            <p:cNvSpPr>
              <a:spLocks noChangeArrowheads="1"/>
            </p:cNvSpPr>
            <p:nvPr/>
          </p:nvSpPr>
          <p:spPr bwMode="auto">
            <a:xfrm>
              <a:off x="4083888" y="689751"/>
              <a:ext cx="1006137" cy="456054"/>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r>
                <a:rPr lang="zh-CN" altLang="en-US" sz="1170">
                  <a:ea typeface="MS PGothic" panose="020B0600070205080204" pitchFamily="34" charset="-128"/>
                </a:rPr>
                <a:t>标签功能</a:t>
              </a:r>
              <a:endParaRPr lang="en-US" altLang="zh-CN" sz="1170">
                <a:ea typeface="MS PGothic" panose="020B0600070205080204" pitchFamily="34" charset="-128"/>
              </a:endParaRPr>
            </a:p>
          </p:txBody>
        </p:sp>
        <p:sp>
          <p:nvSpPr>
            <p:cNvPr id="7" name="Rectangle 7">
              <a:extLst>
                <a:ext uri="{FF2B5EF4-FFF2-40B4-BE49-F238E27FC236}">
                  <a16:creationId xmlns:a16="http://schemas.microsoft.com/office/drawing/2014/main" id="{B8D9B9F2-BD4F-4A50-89E3-2F5DBC143FD4}"/>
                </a:ext>
              </a:extLst>
            </p:cNvPr>
            <p:cNvSpPr>
              <a:spLocks noChangeArrowheads="1"/>
            </p:cNvSpPr>
            <p:nvPr/>
          </p:nvSpPr>
          <p:spPr bwMode="auto">
            <a:xfrm>
              <a:off x="5248343" y="-688065"/>
              <a:ext cx="701337" cy="263016"/>
            </a:xfrm>
            <a:prstGeom prst="rect">
              <a:avLst/>
            </a:prstGeom>
            <a:noFill/>
            <a:ln w="50800" algn="ctr">
              <a:solidFill>
                <a:srgbClr val="FF0000"/>
              </a:solidFill>
              <a:miter lim="800000"/>
              <a:headEnd/>
              <a:tailEnd/>
            </a:ln>
          </p:spPr>
          <p:txBody>
            <a:bodyPr anchor="ctr"/>
            <a:lstStyle/>
            <a:p>
              <a:pPr defTabSz="320954">
                <a:defRPr/>
              </a:pPr>
              <a:r>
                <a:rPr lang="zh-TW" altLang="en-US" sz="1050">
                  <a:latin typeface="Calibri" pitchFamily="34" charset="0"/>
                  <a:ea typeface="PMingLiU-ExtB" pitchFamily="18" charset="-120"/>
                </a:rPr>
                <a:t>：</a:t>
              </a:r>
            </a:p>
          </p:txBody>
        </p:sp>
        <p:sp>
          <p:nvSpPr>
            <p:cNvPr id="8" name="Line 9">
              <a:extLst>
                <a:ext uri="{FF2B5EF4-FFF2-40B4-BE49-F238E27FC236}">
                  <a16:creationId xmlns:a16="http://schemas.microsoft.com/office/drawing/2014/main" id="{232979A6-5A4C-4927-847B-AD536B21F25E}"/>
                </a:ext>
              </a:extLst>
            </p:cNvPr>
            <p:cNvSpPr>
              <a:spLocks noChangeShapeType="1"/>
            </p:cNvSpPr>
            <p:nvPr/>
          </p:nvSpPr>
          <p:spPr bwMode="auto">
            <a:xfrm flipH="1">
              <a:off x="4515935" y="-444353"/>
              <a:ext cx="935116" cy="1134104"/>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標題 1">
            <a:extLst>
              <a:ext uri="{FF2B5EF4-FFF2-40B4-BE49-F238E27FC236}">
                <a16:creationId xmlns:a16="http://schemas.microsoft.com/office/drawing/2014/main" id="{4A363892-E0FA-400C-A58A-CA62FA47F669}"/>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91138" name="標題 4">
            <a:extLst>
              <a:ext uri="{FF2B5EF4-FFF2-40B4-BE49-F238E27FC236}">
                <a16:creationId xmlns:a16="http://schemas.microsoft.com/office/drawing/2014/main" id="{A906CB61-1950-49CC-BDA2-8B3FA1E05717}"/>
              </a:ext>
            </a:extLst>
          </p:cNvPr>
          <p:cNvSpPr txBox="1">
            <a:spLocks/>
          </p:cNvSpPr>
          <p:nvPr/>
        </p:nvSpPr>
        <p:spPr bwMode="auto">
          <a:xfrm>
            <a:off x="1524477" y="3810477"/>
            <a:ext cx="5829300" cy="461665"/>
          </a:xfrm>
          <a:prstGeom prst="rect">
            <a:avLst/>
          </a:prstGeom>
          <a:noFill/>
          <a:ln w="9525">
            <a:noFill/>
            <a:miter lim="800000"/>
            <a:headEnd/>
            <a:tailEnd/>
          </a:ln>
        </p:spPr>
        <p:txBody>
          <a:bodyPr lIns="0" rIns="0">
            <a:spAutoFit/>
          </a:bodyPr>
          <a:lstStyle/>
          <a:p>
            <a:pPr defTabSz="320954">
              <a:defRPr/>
            </a:pPr>
            <a:r>
              <a:rPr lang="en-US" altLang="zh-TW" sz="2400" b="1">
                <a:solidFill>
                  <a:srgbClr val="003C79"/>
                </a:solidFill>
                <a:latin typeface="Calibri" pitchFamily="34" charset="0"/>
                <a:ea typeface="PMingLiU-ExtB" pitchFamily="18" charset="-120"/>
              </a:rPr>
              <a:t>Expert Search – </a:t>
            </a:r>
            <a:r>
              <a:rPr lang="zh-TW" altLang="en-US" sz="2400" b="1">
                <a:solidFill>
                  <a:srgbClr val="003C79"/>
                </a:solidFill>
                <a:latin typeface="Calibri" pitchFamily="34" charset="0"/>
                <a:ea typeface="PMingLiU-ExtB" pitchFamily="18" charset="-120"/>
              </a:rPr>
              <a:t>专家检索</a:t>
            </a:r>
          </a:p>
        </p:txBody>
      </p:sp>
      <p:pic>
        <p:nvPicPr>
          <p:cNvPr id="60421" name="Picture 6" descr="图片2">
            <a:extLst>
              <a:ext uri="{FF2B5EF4-FFF2-40B4-BE49-F238E27FC236}">
                <a16:creationId xmlns:a16="http://schemas.microsoft.com/office/drawing/2014/main" id="{BB6C7F4B-2015-4C66-B2BD-8877A04C35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2" y="0"/>
            <a:ext cx="9158503" cy="3852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20" name="Picture 3" descr="C:\Users\LiuK002\Desktop\Elsevier related\Elsevier pictures\EV\EV_25.bmp">
            <a:extLst>
              <a:ext uri="{FF2B5EF4-FFF2-40B4-BE49-F238E27FC236}">
                <a16:creationId xmlns:a16="http://schemas.microsoft.com/office/drawing/2014/main" id="{A05775CC-BAB3-404C-8148-E35CE01DD4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9929" y="3580761"/>
            <a:ext cx="1075578" cy="824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CD265-98A8-4A30-B40C-BF104755862F}"/>
              </a:ext>
            </a:extLst>
          </p:cNvPr>
          <p:cNvSpPr>
            <a:spLocks noGrp="1"/>
          </p:cNvSpPr>
          <p:nvPr>
            <p:ph type="title"/>
          </p:nvPr>
        </p:nvSpPr>
        <p:spPr>
          <a:xfrm>
            <a:off x="1324452" y="367189"/>
            <a:ext cx="6177915" cy="312896"/>
          </a:xfrm>
        </p:spPr>
        <p:txBody>
          <a:bodyPr rtlCol="0">
            <a:noAutofit/>
          </a:bodyPr>
          <a:lstStyle/>
          <a:p>
            <a:pPr defTabSz="342887">
              <a:defRPr/>
            </a:pPr>
            <a:endParaRPr lang="en-US" sz="1500"/>
          </a:p>
        </p:txBody>
      </p:sp>
      <p:pic>
        <p:nvPicPr>
          <p:cNvPr id="23555" name="Picture 2">
            <a:extLst>
              <a:ext uri="{FF2B5EF4-FFF2-40B4-BE49-F238E27FC236}">
                <a16:creationId xmlns:a16="http://schemas.microsoft.com/office/drawing/2014/main" id="{C735DEB6-98FA-4392-B7D8-941BE39EB8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9553" y="1"/>
            <a:ext cx="8014447" cy="5172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546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a:extLst>
              <a:ext uri="{FF2B5EF4-FFF2-40B4-BE49-F238E27FC236}">
                <a16:creationId xmlns:a16="http://schemas.microsoft.com/office/drawing/2014/main" id="{A42FAF63-7AFA-4EDF-8751-AEDEB6B553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3015" y="1271588"/>
            <a:ext cx="6737985" cy="2826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3185" name="標題 1">
            <a:extLst>
              <a:ext uri="{FF2B5EF4-FFF2-40B4-BE49-F238E27FC236}">
                <a16:creationId xmlns:a16="http://schemas.microsoft.com/office/drawing/2014/main" id="{2C032087-2BDC-4D1A-B6A1-5A0FC2B524D8}"/>
              </a:ext>
            </a:extLst>
          </p:cNvPr>
          <p:cNvSpPr>
            <a:spLocks noGrp="1"/>
          </p:cNvSpPr>
          <p:nvPr>
            <p:ph type="title"/>
          </p:nvPr>
        </p:nvSpPr>
        <p:spPr>
          <a:xfrm>
            <a:off x="1375887" y="450057"/>
            <a:ext cx="6625113" cy="390048"/>
          </a:xfrm>
        </p:spPr>
        <p:txBody>
          <a:bodyPr rtlCol="0">
            <a:noAutofit/>
          </a:bodyPr>
          <a:lstStyle/>
          <a:p>
            <a:pPr defTabSz="342887">
              <a:defRPr/>
            </a:pPr>
            <a:r>
              <a:rPr lang="en-US" altLang="zh-CN" sz="2520" dirty="0">
                <a:latin typeface="+mj-ea"/>
              </a:rPr>
              <a:t>Expert Search – </a:t>
            </a:r>
            <a:r>
              <a:rPr lang="zh-CN" altLang="en-US" sz="2520" dirty="0">
                <a:latin typeface="+mj-ea"/>
              </a:rPr>
              <a:t>专家检索</a:t>
            </a:r>
          </a:p>
        </p:txBody>
      </p:sp>
      <p:grpSp>
        <p:nvGrpSpPr>
          <p:cNvPr id="3" name="Group 32">
            <a:extLst>
              <a:ext uri="{FF2B5EF4-FFF2-40B4-BE49-F238E27FC236}">
                <a16:creationId xmlns:a16="http://schemas.microsoft.com/office/drawing/2014/main" id="{F1AD74CA-7F45-41FD-886D-25ED8B3EB57F}"/>
              </a:ext>
            </a:extLst>
          </p:cNvPr>
          <p:cNvGrpSpPr>
            <a:grpSpLocks/>
          </p:cNvGrpSpPr>
          <p:nvPr/>
        </p:nvGrpSpPr>
        <p:grpSpPr bwMode="auto">
          <a:xfrm>
            <a:off x="2140268" y="1295877"/>
            <a:ext cx="5036344" cy="1041558"/>
            <a:chOff x="460640" y="641267"/>
            <a:chExt cx="6713542" cy="1389413"/>
          </a:xfrm>
        </p:grpSpPr>
        <p:grpSp>
          <p:nvGrpSpPr>
            <p:cNvPr id="62474" name="Group 30">
              <a:extLst>
                <a:ext uri="{FF2B5EF4-FFF2-40B4-BE49-F238E27FC236}">
                  <a16:creationId xmlns:a16="http://schemas.microsoft.com/office/drawing/2014/main" id="{A44DEE7E-0598-478F-BEA3-B22F7EC6F7CF}"/>
                </a:ext>
              </a:extLst>
            </p:cNvPr>
            <p:cNvGrpSpPr>
              <a:grpSpLocks/>
            </p:cNvGrpSpPr>
            <p:nvPr/>
          </p:nvGrpSpPr>
          <p:grpSpPr bwMode="auto">
            <a:xfrm>
              <a:off x="2238675" y="641267"/>
              <a:ext cx="3271501" cy="903755"/>
              <a:chOff x="2238675" y="641267"/>
              <a:chExt cx="3271501" cy="903755"/>
            </a:xfrm>
          </p:grpSpPr>
          <p:sp>
            <p:nvSpPr>
              <p:cNvPr id="93195" name="Rectangle 7">
                <a:extLst>
                  <a:ext uri="{FF2B5EF4-FFF2-40B4-BE49-F238E27FC236}">
                    <a16:creationId xmlns:a16="http://schemas.microsoft.com/office/drawing/2014/main" id="{EE85FD1A-E2FD-48CF-BEA9-96789BBF1AC6}"/>
                  </a:ext>
                </a:extLst>
              </p:cNvPr>
              <p:cNvSpPr>
                <a:spLocks noChangeArrowheads="1"/>
              </p:cNvSpPr>
              <p:nvPr/>
            </p:nvSpPr>
            <p:spPr bwMode="auto">
              <a:xfrm>
                <a:off x="2970838" y="641267"/>
                <a:ext cx="2538767" cy="352594"/>
              </a:xfrm>
              <a:prstGeom prst="rect">
                <a:avLst/>
              </a:prstGeom>
              <a:solidFill>
                <a:schemeClr val="bg1"/>
              </a:solidFill>
              <a:ln w="50800" algn="ctr">
                <a:solidFill>
                  <a:srgbClr val="FF0000"/>
                </a:solidFill>
                <a:miter lim="800000"/>
                <a:headEnd/>
                <a:tailEnd/>
              </a:ln>
            </p:spPr>
            <p:txBody>
              <a:bodyPr anchor="ctr"/>
              <a:lstStyle/>
              <a:p>
                <a:pPr defTabSz="320954">
                  <a:spcBef>
                    <a:spcPct val="50000"/>
                  </a:spcBef>
                  <a:defRPr/>
                </a:pPr>
                <a:r>
                  <a:rPr lang="zh-CN" altLang="en-US" sz="1050">
                    <a:latin typeface="Calibri" pitchFamily="34" charset="0"/>
                    <a:ea typeface="PMingLiU-ExtB" pitchFamily="18" charset="-120"/>
                  </a:rPr>
                  <a:t>输入检索词汇和检索字段代码</a:t>
                </a:r>
                <a:endParaRPr lang="zh-TW" altLang="en-GB" sz="1050">
                  <a:latin typeface="Calibri" pitchFamily="34" charset="0"/>
                  <a:ea typeface="PMingLiU-ExtB" pitchFamily="18" charset="-120"/>
                </a:endParaRPr>
              </a:p>
            </p:txBody>
          </p:sp>
          <p:sp>
            <p:nvSpPr>
              <p:cNvPr id="93196" name="Line 9">
                <a:extLst>
                  <a:ext uri="{FF2B5EF4-FFF2-40B4-BE49-F238E27FC236}">
                    <a16:creationId xmlns:a16="http://schemas.microsoft.com/office/drawing/2014/main" id="{5BA6F44B-11F0-4291-9620-EEA0372EA823}"/>
                  </a:ext>
                </a:extLst>
              </p:cNvPr>
              <p:cNvSpPr>
                <a:spLocks noChangeShapeType="1"/>
              </p:cNvSpPr>
              <p:nvPr/>
            </p:nvSpPr>
            <p:spPr bwMode="auto">
              <a:xfrm flipH="1">
                <a:off x="2239491" y="913812"/>
                <a:ext cx="708493" cy="630859"/>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62475" name="Rectangle 7">
              <a:extLst>
                <a:ext uri="{FF2B5EF4-FFF2-40B4-BE49-F238E27FC236}">
                  <a16:creationId xmlns:a16="http://schemas.microsoft.com/office/drawing/2014/main" id="{C383CC54-DD89-49B7-998E-388B645FDBF9}"/>
                </a:ext>
              </a:extLst>
            </p:cNvPr>
            <p:cNvSpPr>
              <a:spLocks noChangeArrowheads="1"/>
            </p:cNvSpPr>
            <p:nvPr/>
          </p:nvSpPr>
          <p:spPr bwMode="auto">
            <a:xfrm>
              <a:off x="460640" y="1542765"/>
              <a:ext cx="6713542" cy="487915"/>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5" name="Group 32">
            <a:extLst>
              <a:ext uri="{FF2B5EF4-FFF2-40B4-BE49-F238E27FC236}">
                <a16:creationId xmlns:a16="http://schemas.microsoft.com/office/drawing/2014/main" id="{CC1177C0-D364-4AE1-8365-BF507445AC3E}"/>
              </a:ext>
            </a:extLst>
          </p:cNvPr>
          <p:cNvGrpSpPr>
            <a:grpSpLocks/>
          </p:cNvGrpSpPr>
          <p:nvPr/>
        </p:nvGrpSpPr>
        <p:grpSpPr bwMode="auto">
          <a:xfrm>
            <a:off x="1383030" y="2403158"/>
            <a:ext cx="5333524" cy="1443038"/>
            <a:chOff x="460640" y="1094490"/>
            <a:chExt cx="7110120" cy="1924295"/>
          </a:xfrm>
        </p:grpSpPr>
        <p:grpSp>
          <p:nvGrpSpPr>
            <p:cNvPr id="62470" name="Group 30">
              <a:extLst>
                <a:ext uri="{FF2B5EF4-FFF2-40B4-BE49-F238E27FC236}">
                  <a16:creationId xmlns:a16="http://schemas.microsoft.com/office/drawing/2014/main" id="{3638D7CA-24A4-49B2-B793-98DB5C20AD56}"/>
                </a:ext>
              </a:extLst>
            </p:cNvPr>
            <p:cNvGrpSpPr>
              <a:grpSpLocks/>
            </p:cNvGrpSpPr>
            <p:nvPr/>
          </p:nvGrpSpPr>
          <p:grpSpPr bwMode="auto">
            <a:xfrm>
              <a:off x="5076877" y="1094490"/>
              <a:ext cx="1634688" cy="391155"/>
              <a:chOff x="5076877" y="1094490"/>
              <a:chExt cx="1634688" cy="391155"/>
            </a:xfrm>
          </p:grpSpPr>
          <p:sp>
            <p:nvSpPr>
              <p:cNvPr id="93191" name="Rectangle 7">
                <a:extLst>
                  <a:ext uri="{FF2B5EF4-FFF2-40B4-BE49-F238E27FC236}">
                    <a16:creationId xmlns:a16="http://schemas.microsoft.com/office/drawing/2014/main" id="{AD2F01D7-CF01-4429-8F77-B945ECA93AD4}"/>
                  </a:ext>
                </a:extLst>
              </p:cNvPr>
              <p:cNvSpPr>
                <a:spLocks noChangeArrowheads="1"/>
              </p:cNvSpPr>
              <p:nvPr/>
            </p:nvSpPr>
            <p:spPr bwMode="auto">
              <a:xfrm>
                <a:off x="5808943" y="1094490"/>
                <a:ext cx="902812" cy="350565"/>
              </a:xfrm>
              <a:prstGeom prst="rect">
                <a:avLst/>
              </a:prstGeom>
              <a:solidFill>
                <a:schemeClr val="bg1"/>
              </a:solidFill>
              <a:ln w="50800" algn="ctr">
                <a:solidFill>
                  <a:srgbClr val="FF0000"/>
                </a:solidFill>
                <a:miter lim="800000"/>
                <a:headEnd/>
                <a:tailEnd/>
              </a:ln>
            </p:spPr>
            <p:txBody>
              <a:bodyPr anchor="ctr"/>
              <a:lstStyle/>
              <a:p>
                <a:pPr defTabSz="320954">
                  <a:spcBef>
                    <a:spcPct val="50000"/>
                  </a:spcBef>
                  <a:defRPr/>
                </a:pPr>
                <a:r>
                  <a:rPr lang="zh-TW" altLang="en-US" sz="1050">
                    <a:latin typeface="Calibri" pitchFamily="34" charset="0"/>
                    <a:ea typeface="PMingLiU-ExtB" pitchFamily="18" charset="-120"/>
                  </a:rPr>
                  <a:t>检索代码</a:t>
                </a:r>
                <a:endParaRPr lang="zh-TW" altLang="en-GB" sz="1050">
                  <a:latin typeface="Calibri" pitchFamily="34" charset="0"/>
                  <a:ea typeface="PMingLiU-ExtB" pitchFamily="18" charset="-120"/>
                </a:endParaRPr>
              </a:p>
            </p:txBody>
          </p:sp>
          <p:sp>
            <p:nvSpPr>
              <p:cNvPr id="93192" name="Line 9">
                <a:extLst>
                  <a:ext uri="{FF2B5EF4-FFF2-40B4-BE49-F238E27FC236}">
                    <a16:creationId xmlns:a16="http://schemas.microsoft.com/office/drawing/2014/main" id="{76C8F7E0-20C7-4DFC-B712-10A9BD410D4B}"/>
                  </a:ext>
                </a:extLst>
              </p:cNvPr>
              <p:cNvSpPr>
                <a:spLocks noChangeShapeType="1"/>
              </p:cNvSpPr>
              <p:nvPr/>
            </p:nvSpPr>
            <p:spPr bwMode="auto">
              <a:xfrm flipH="1">
                <a:off x="5077551" y="1269772"/>
                <a:ext cx="731392" cy="215293"/>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62471" name="Rectangle 7">
              <a:extLst>
                <a:ext uri="{FF2B5EF4-FFF2-40B4-BE49-F238E27FC236}">
                  <a16:creationId xmlns:a16="http://schemas.microsoft.com/office/drawing/2014/main" id="{4393EACF-36AB-472E-B7B8-404EA4F08ABC}"/>
                </a:ext>
              </a:extLst>
            </p:cNvPr>
            <p:cNvSpPr>
              <a:spLocks noChangeArrowheads="1"/>
            </p:cNvSpPr>
            <p:nvPr/>
          </p:nvSpPr>
          <p:spPr bwMode="auto">
            <a:xfrm>
              <a:off x="460640" y="1542223"/>
              <a:ext cx="7110120" cy="1476562"/>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40B449B2-C8BF-406A-A121-3D9859540CB4}"/>
              </a:ext>
            </a:extLst>
          </p:cNvPr>
          <p:cNvSpPr>
            <a:spLocks noGrp="1" noChangeArrowheads="1"/>
          </p:cNvSpPr>
          <p:nvPr>
            <p:ph type="title"/>
          </p:nvPr>
        </p:nvSpPr>
        <p:spPr>
          <a:xfrm>
            <a:off x="1538765" y="450057"/>
            <a:ext cx="6625113" cy="345758"/>
          </a:xfrm>
        </p:spPr>
        <p:txBody>
          <a:bodyPr/>
          <a:lstStyle/>
          <a:p>
            <a:pPr eaLnBrk="1" hangingPunct="1"/>
            <a:r>
              <a:rPr lang="zh-CN" altLang="en-US" sz="2520">
                <a:latin typeface="Arial Bold" panose="020B0704020202020204" pitchFamily="34" charset="0"/>
                <a:cs typeface="Arial Bold" panose="020B0704020202020204" pitchFamily="34" charset="0"/>
              </a:rPr>
              <a:t>通配符</a:t>
            </a:r>
            <a:endParaRPr lang="en-US" altLang="en-US" sz="2520">
              <a:latin typeface="Arial Bold" panose="020B0704020202020204" pitchFamily="34" charset="0"/>
              <a:cs typeface="Arial Bold" panose="020B0704020202020204" pitchFamily="34" charset="0"/>
            </a:endParaRPr>
          </a:p>
        </p:txBody>
      </p:sp>
      <p:sp>
        <p:nvSpPr>
          <p:cNvPr id="3" name="Content Placeholder 2">
            <a:extLst>
              <a:ext uri="{FF2B5EF4-FFF2-40B4-BE49-F238E27FC236}">
                <a16:creationId xmlns:a16="http://schemas.microsoft.com/office/drawing/2014/main" id="{54EF4FAB-3B52-4511-99A6-B36FCC1E34FA}"/>
              </a:ext>
            </a:extLst>
          </p:cNvPr>
          <p:cNvSpPr>
            <a:spLocks noGrp="1"/>
          </p:cNvSpPr>
          <p:nvPr>
            <p:ph idx="1"/>
          </p:nvPr>
        </p:nvSpPr>
        <p:spPr>
          <a:xfrm>
            <a:off x="1443038" y="965835"/>
            <a:ext cx="5943600" cy="3028950"/>
          </a:xfrm>
        </p:spPr>
        <p:txBody>
          <a:bodyPr rtlCol="0">
            <a:noAutofit/>
          </a:bodyPr>
          <a:lstStyle/>
          <a:p>
            <a:pPr marL="129774" indent="-123820" defTabSz="342887">
              <a:spcAft>
                <a:spcPts val="0"/>
              </a:spcAft>
              <a:buFont typeface="Arial"/>
              <a:buChar char="•"/>
              <a:defRPr/>
            </a:pPr>
            <a:r>
              <a:rPr lang="zh-CN" altLang="en-US" sz="1500" b="1" u="sng" dirty="0"/>
              <a:t>*右截词</a:t>
            </a:r>
            <a:r>
              <a:rPr lang="en-US" altLang="zh-CN" sz="1500" b="1" u="sng" dirty="0"/>
              <a:t>-</a:t>
            </a:r>
            <a:r>
              <a:rPr lang="zh-CN" altLang="en-US" sz="1500" b="1" u="sng" dirty="0"/>
              <a:t>命中检索词起始部分相同的记录</a:t>
            </a:r>
          </a:p>
          <a:p>
            <a:pPr marL="129774" indent="-123820" defTabSz="342887">
              <a:spcAft>
                <a:spcPts val="0"/>
              </a:spcAft>
              <a:buFont typeface="Arial"/>
              <a:buChar char="•"/>
              <a:defRPr/>
            </a:pPr>
            <a:r>
              <a:rPr lang="en-US" sz="1500" b="1" u="sng" dirty="0"/>
              <a:t>Learn* </a:t>
            </a:r>
            <a:r>
              <a:rPr lang="en-US" sz="1500" b="1" u="sng" dirty="0" err="1"/>
              <a:t>命中learn</a:t>
            </a:r>
            <a:r>
              <a:rPr lang="en-US" sz="1500" b="1" u="sng" dirty="0"/>
              <a:t>, learns, learning, learned, learnt, learner(s), learner’s, learnability, learnable</a:t>
            </a:r>
          </a:p>
          <a:p>
            <a:pPr marL="129774" indent="-123820" defTabSz="342887">
              <a:spcAft>
                <a:spcPts val="0"/>
              </a:spcAft>
              <a:buFont typeface="Arial"/>
              <a:buChar char="•"/>
              <a:defRPr/>
            </a:pPr>
            <a:endParaRPr lang="en-US" sz="1500" b="1" dirty="0"/>
          </a:p>
        </p:txBody>
      </p:sp>
      <p:sp>
        <p:nvSpPr>
          <p:cNvPr id="5" name="Rectangle 4">
            <a:extLst>
              <a:ext uri="{FF2B5EF4-FFF2-40B4-BE49-F238E27FC236}">
                <a16:creationId xmlns:a16="http://schemas.microsoft.com/office/drawing/2014/main" id="{67870D78-019C-419E-A7B4-24C7139D2652}"/>
              </a:ext>
            </a:extLst>
          </p:cNvPr>
          <p:cNvSpPr/>
          <p:nvPr/>
        </p:nvSpPr>
        <p:spPr>
          <a:xfrm>
            <a:off x="4479132" y="4646296"/>
            <a:ext cx="2988945" cy="207749"/>
          </a:xfrm>
          <a:prstGeom prst="rect">
            <a:avLst/>
          </a:prstGeom>
        </p:spPr>
        <p:txBody>
          <a:bodyPr>
            <a:spAutoFit/>
          </a:bodyPr>
          <a:lstStyle/>
          <a:p>
            <a:pPr defTabSz="320954">
              <a:defRPr/>
            </a:pPr>
            <a:r>
              <a:rPr lang="zh-CN" altLang="en-US" sz="750" dirty="0"/>
              <a:t>此页引自清华大学图书馆花芳</a:t>
            </a:r>
            <a:r>
              <a:rPr lang="en-US" altLang="zh-CN" sz="750" dirty="0"/>
              <a:t>《</a:t>
            </a:r>
            <a:r>
              <a:rPr lang="zh-CN" altLang="en-US" sz="750" dirty="0"/>
              <a:t>文摘库</a:t>
            </a:r>
            <a:r>
              <a:rPr lang="en-US" altLang="zh-CN" sz="750" b="1" dirty="0" err="1"/>
              <a:t>Ei</a:t>
            </a:r>
            <a:r>
              <a:rPr lang="zh-CN" altLang="en-US" sz="750" dirty="0"/>
              <a:t>在文献调研中的应用</a:t>
            </a:r>
            <a:r>
              <a:rPr lang="en-US" altLang="zh-CN" sz="750" dirty="0"/>
              <a:t>》</a:t>
            </a:r>
            <a:endParaRPr lang="en-US" sz="750" dirty="0"/>
          </a:p>
        </p:txBody>
      </p:sp>
      <p:sp>
        <p:nvSpPr>
          <p:cNvPr id="64517" name="Title 1">
            <a:extLst>
              <a:ext uri="{FF2B5EF4-FFF2-40B4-BE49-F238E27FC236}">
                <a16:creationId xmlns:a16="http://schemas.microsoft.com/office/drawing/2014/main" id="{EF4D4AD9-74C2-400B-AE65-1E933CBD713B}"/>
              </a:ext>
            </a:extLst>
          </p:cNvPr>
          <p:cNvSpPr txBox="1">
            <a:spLocks noChangeArrowheads="1"/>
          </p:cNvSpPr>
          <p:nvPr/>
        </p:nvSpPr>
        <p:spPr bwMode="auto">
          <a:xfrm>
            <a:off x="1538765" y="2118837"/>
            <a:ext cx="6625113" cy="34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742950" indent="-28575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11430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6002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20574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5146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9718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4290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8862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zh-CN" altLang="en-US" sz="2520" b="1">
                <a:solidFill>
                  <a:schemeClr val="accent1"/>
                </a:solidFill>
                <a:latin typeface="Arial Bold" panose="020B0704020202020204" pitchFamily="34" charset="0"/>
                <a:cs typeface="Arial Bold" panose="020B0704020202020204" pitchFamily="34" charset="0"/>
              </a:rPr>
              <a:t>位置算符</a:t>
            </a:r>
            <a:endParaRPr lang="en-US" altLang="en-US" sz="2520" b="1">
              <a:solidFill>
                <a:schemeClr val="accent1"/>
              </a:solidFill>
              <a:latin typeface="Arial Bold" panose="020B0704020202020204" pitchFamily="34" charset="0"/>
              <a:ea typeface="黑体" panose="02010609060101010101" pitchFamily="49" charset="-122"/>
              <a:cs typeface="Arial Bold" panose="020B0704020202020204" pitchFamily="34" charset="0"/>
            </a:endParaRPr>
          </a:p>
        </p:txBody>
      </p:sp>
      <p:sp>
        <p:nvSpPr>
          <p:cNvPr id="7" name="Content Placeholder 2">
            <a:extLst>
              <a:ext uri="{FF2B5EF4-FFF2-40B4-BE49-F238E27FC236}">
                <a16:creationId xmlns:a16="http://schemas.microsoft.com/office/drawing/2014/main" id="{147ED072-5A78-496C-B65D-4FA1A825918E}"/>
              </a:ext>
            </a:extLst>
          </p:cNvPr>
          <p:cNvSpPr txBox="1">
            <a:spLocks/>
          </p:cNvSpPr>
          <p:nvPr/>
        </p:nvSpPr>
        <p:spPr>
          <a:xfrm>
            <a:off x="1417320" y="2678907"/>
            <a:ext cx="6123623" cy="1861661"/>
          </a:xfrm>
          <a:prstGeom prst="rect">
            <a:avLst/>
          </a:prstGeom>
        </p:spPr>
        <p:txBody>
          <a:bodyPr/>
          <a:lstStyle>
            <a:lvl1pPr marL="144193" indent="-137578" algn="l" defTabSz="380985" rtl="0" eaLnBrk="1" latinLnBrk="0" hangingPunct="1">
              <a:spcBef>
                <a:spcPct val="20000"/>
              </a:spcBef>
              <a:buFont typeface="Arial"/>
              <a:buChar char="•"/>
              <a:tabLst/>
              <a:defRPr sz="1667" kern="1200">
                <a:solidFill>
                  <a:srgbClr val="53565A"/>
                </a:solidFill>
                <a:latin typeface="Arial"/>
                <a:ea typeface="+mn-ea"/>
                <a:cs typeface="Arial"/>
              </a:defRPr>
            </a:lvl1pPr>
            <a:lvl2pPr marL="480200" indent="-191816" algn="l" defTabSz="380985" rtl="0" eaLnBrk="1" latinLnBrk="0" hangingPunct="1">
              <a:spcBef>
                <a:spcPct val="20000"/>
              </a:spcBef>
              <a:buSzPct val="80000"/>
              <a:buFont typeface="ArialMT" charset="0"/>
              <a:buChar char="–"/>
              <a:tabLst/>
              <a:defRPr sz="1500" kern="1200">
                <a:solidFill>
                  <a:srgbClr val="53565A"/>
                </a:solidFill>
                <a:latin typeface="Arial"/>
                <a:ea typeface="+mn-ea"/>
                <a:cs typeface="+mn-cs"/>
              </a:defRPr>
            </a:lvl2pPr>
            <a:lvl3pPr marL="952462" indent="-190492" algn="l" defTabSz="380985" rtl="0" eaLnBrk="1" latinLnBrk="0" hangingPunct="1">
              <a:spcBef>
                <a:spcPct val="20000"/>
              </a:spcBef>
              <a:buSzPct val="90000"/>
              <a:buFont typeface="Courier New" pitchFamily="49" charset="0"/>
              <a:buChar char="o"/>
              <a:defRPr sz="1333" kern="1200">
                <a:solidFill>
                  <a:srgbClr val="53565A"/>
                </a:solidFill>
                <a:latin typeface="Arial"/>
                <a:ea typeface="+mn-ea"/>
                <a:cs typeface="+mn-cs"/>
              </a:defRPr>
            </a:lvl3pPr>
            <a:lvl4pPr marL="1333447"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4pPr>
            <a:lvl5pPr marL="171443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5pPr>
            <a:lvl6pPr marL="209541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6pPr>
            <a:lvl7pPr marL="247640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7pPr>
            <a:lvl8pPr marL="285738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8pPr>
            <a:lvl9pPr marL="3238370"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9pPr>
          </a:lstStyle>
          <a:p>
            <a:pPr>
              <a:defRPr/>
            </a:pPr>
            <a:r>
              <a:rPr lang="zh-CN" altLang="en-US" sz="1500" u="sng" dirty="0"/>
              <a:t>词组检索“ ” 或</a:t>
            </a:r>
            <a:r>
              <a:rPr lang="en-US" altLang="zh-CN" sz="1500" b="1" u="sng" dirty="0"/>
              <a:t>{ }-</a:t>
            </a:r>
            <a:r>
              <a:rPr lang="zh-CN" altLang="en-US" sz="1500" u="sng" dirty="0"/>
              <a:t> 词间不能插词，词序不能颠倒</a:t>
            </a:r>
          </a:p>
          <a:p>
            <a:pPr>
              <a:defRPr/>
            </a:pPr>
            <a:r>
              <a:rPr lang="en-US" sz="1500" u="sng" dirty="0"/>
              <a:t>“</a:t>
            </a:r>
            <a:r>
              <a:rPr lang="en-US" sz="1500" b="1" u="sng" dirty="0"/>
              <a:t>International Space Station”</a:t>
            </a:r>
            <a:r>
              <a:rPr lang="zh-CN" altLang="en-US" sz="1500" u="sng" dirty="0"/>
              <a:t>命中包含有词组 </a:t>
            </a:r>
            <a:r>
              <a:rPr lang="en-US" sz="1500" u="sng" dirty="0"/>
              <a:t>“</a:t>
            </a:r>
            <a:r>
              <a:rPr lang="en-US" sz="1500" b="1" u="sng" dirty="0"/>
              <a:t>International Space Station”</a:t>
            </a:r>
            <a:r>
              <a:rPr lang="zh-CN" altLang="en-US" sz="1500" u="sng" dirty="0"/>
              <a:t>的记录</a:t>
            </a:r>
            <a:endParaRPr lang="en-US" altLang="zh-CN" sz="1500" u="sng" dirty="0"/>
          </a:p>
          <a:p>
            <a:pPr>
              <a:defRPr/>
            </a:pPr>
            <a:endParaRPr lang="en-US" sz="1500" b="1" dirty="0"/>
          </a:p>
          <a:p>
            <a:pPr>
              <a:defRPr/>
            </a:pPr>
            <a:r>
              <a:rPr lang="en-US" sz="1500" b="1" dirty="0" err="1"/>
              <a:t>Onear</a:t>
            </a:r>
            <a:r>
              <a:rPr lang="en-US" sz="1500" b="1" dirty="0"/>
              <a:t>/n-</a:t>
            </a:r>
            <a:r>
              <a:rPr lang="zh-CN" altLang="en-US" sz="1500" dirty="0"/>
              <a:t> 两个词之间可插入</a:t>
            </a:r>
            <a:r>
              <a:rPr lang="en-US" altLang="zh-CN" sz="1500" b="1" dirty="0"/>
              <a:t>0</a:t>
            </a:r>
            <a:r>
              <a:rPr lang="zh-CN" altLang="en-US" sz="1500" dirty="0"/>
              <a:t>－</a:t>
            </a:r>
            <a:r>
              <a:rPr lang="en-US" altLang="zh-CN" sz="1500" b="1" dirty="0"/>
              <a:t>n</a:t>
            </a:r>
            <a:r>
              <a:rPr lang="zh-CN" altLang="en-US" sz="1500" dirty="0"/>
              <a:t>个词，词序不能颠倒</a:t>
            </a:r>
            <a:r>
              <a:rPr lang="en-US" altLang="zh-CN" sz="1500" b="1" dirty="0"/>
              <a:t>,</a:t>
            </a:r>
            <a:r>
              <a:rPr lang="zh-CN" altLang="en-US" sz="1500" dirty="0"/>
              <a:t>如</a:t>
            </a:r>
          </a:p>
          <a:p>
            <a:pPr>
              <a:defRPr/>
            </a:pPr>
            <a:r>
              <a:rPr lang="en-US" sz="1500" b="1" dirty="0"/>
              <a:t>Distance </a:t>
            </a:r>
            <a:r>
              <a:rPr lang="en-US" sz="1500" b="1" dirty="0" err="1"/>
              <a:t>Onear</a:t>
            </a:r>
            <a:r>
              <a:rPr lang="en-US" sz="1500" b="1" dirty="0"/>
              <a:t>/3 learning</a:t>
            </a:r>
          </a:p>
          <a:p>
            <a:pPr>
              <a:defRPr/>
            </a:pPr>
            <a:endParaRPr lang="en-US" sz="1500" b="1" dirty="0"/>
          </a:p>
        </p:txBody>
      </p:sp>
    </p:spTree>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34497E07-4D7D-4CA7-B962-5A01F356237D}"/>
              </a:ext>
            </a:extLst>
          </p:cNvPr>
          <p:cNvSpPr>
            <a:spLocks noGrp="1" noChangeArrowheads="1"/>
          </p:cNvSpPr>
          <p:nvPr>
            <p:ph type="title"/>
          </p:nvPr>
        </p:nvSpPr>
        <p:spPr>
          <a:xfrm>
            <a:off x="1360170" y="547212"/>
            <a:ext cx="6177915" cy="314325"/>
          </a:xfrm>
        </p:spPr>
        <p:txBody>
          <a:bodyPr/>
          <a:lstStyle/>
          <a:p>
            <a:pPr eaLnBrk="1" hangingPunct="1"/>
            <a:r>
              <a:rPr lang="zh-CN" altLang="en-US" sz="2520">
                <a:latin typeface="Arial Bold" panose="020B0704020202020204" pitchFamily="34" charset="0"/>
                <a:cs typeface="Arial Bold" panose="020B0704020202020204" pitchFamily="34" charset="0"/>
              </a:rPr>
              <a:t>查收</a:t>
            </a:r>
            <a:r>
              <a:rPr lang="en-US" altLang="zh-CN" sz="2520">
                <a:latin typeface="Arial Bold" panose="020B0704020202020204" pitchFamily="34" charset="0"/>
                <a:cs typeface="Arial Bold" panose="020B0704020202020204" pitchFamily="34" charset="0"/>
              </a:rPr>
              <a:t>-</a:t>
            </a:r>
            <a:r>
              <a:rPr lang="zh-CN" altLang="en-US" sz="2520">
                <a:latin typeface="Arial Bold" panose="020B0704020202020204" pitchFamily="34" charset="0"/>
                <a:cs typeface="Arial Bold" panose="020B0704020202020204" pitchFamily="34" charset="0"/>
              </a:rPr>
              <a:t>人名检索</a:t>
            </a:r>
            <a:endParaRPr lang="en-US" altLang="en-US" sz="2520">
              <a:latin typeface="Arial Bold" panose="020B0704020202020204" pitchFamily="34" charset="0"/>
              <a:cs typeface="Arial Bold" panose="020B0704020202020204" pitchFamily="34" charset="0"/>
            </a:endParaRPr>
          </a:p>
        </p:txBody>
      </p:sp>
      <p:sp>
        <p:nvSpPr>
          <p:cNvPr id="4" name="內容版面配置區 2">
            <a:extLst>
              <a:ext uri="{FF2B5EF4-FFF2-40B4-BE49-F238E27FC236}">
                <a16:creationId xmlns:a16="http://schemas.microsoft.com/office/drawing/2014/main" id="{E043C3D3-952C-471E-91DF-7D4185865BE3}"/>
              </a:ext>
            </a:extLst>
          </p:cNvPr>
          <p:cNvSpPr>
            <a:spLocks noGrp="1"/>
          </p:cNvSpPr>
          <p:nvPr>
            <p:ph idx="1"/>
          </p:nvPr>
        </p:nvSpPr>
        <p:spPr>
          <a:xfrm>
            <a:off x="1655922" y="981552"/>
            <a:ext cx="5943600" cy="3569018"/>
          </a:xfrm>
        </p:spPr>
        <p:txBody>
          <a:bodyPr rtlCol="0">
            <a:noAutofit/>
          </a:bodyPr>
          <a:lstStyle/>
          <a:p>
            <a:pPr marL="129774" indent="-123820" defTabSz="342887">
              <a:lnSpc>
                <a:spcPct val="120000"/>
              </a:lnSpc>
              <a:spcAft>
                <a:spcPts val="0"/>
              </a:spcAft>
              <a:buFont typeface="Wingdings" pitchFamily="2" charset="2"/>
              <a:buChar char="u"/>
              <a:defRPr/>
            </a:pPr>
            <a:r>
              <a:rPr lang="en-US" altLang="zh-CN" sz="1620" b="1" dirty="0">
                <a:latin typeface="+mn-ea"/>
              </a:rPr>
              <a:t>EI</a:t>
            </a:r>
            <a:r>
              <a:rPr lang="zh-CN" altLang="en-US" sz="1620" b="1" dirty="0">
                <a:latin typeface="+mn-ea"/>
              </a:rPr>
              <a:t>数据库的作者有九种写法：  以</a:t>
            </a:r>
            <a:r>
              <a:rPr lang="zh-CN" altLang="en-US" b="1" dirty="0">
                <a:solidFill>
                  <a:srgbClr val="FF0000"/>
                </a:solidFill>
                <a:latin typeface="+mn-ea"/>
              </a:rPr>
              <a:t>娃哈哈</a:t>
            </a:r>
            <a:r>
              <a:rPr lang="zh-CN" altLang="en-US" sz="1620" b="1" dirty="0">
                <a:latin typeface="+mn-ea"/>
              </a:rPr>
              <a:t>（</a:t>
            </a:r>
            <a:r>
              <a:rPr lang="en-US" altLang="zh-CN" sz="1620" b="1" dirty="0" err="1">
                <a:latin typeface="+mn-ea"/>
              </a:rPr>
              <a:t>Wa</a:t>
            </a:r>
            <a:r>
              <a:rPr lang="en-US" altLang="zh-CN" sz="1620" b="1" dirty="0">
                <a:latin typeface="+mn-ea"/>
              </a:rPr>
              <a:t> </a:t>
            </a:r>
            <a:r>
              <a:rPr lang="en-US" altLang="zh-CN" sz="1620" b="1" dirty="0" err="1">
                <a:latin typeface="+mn-ea"/>
              </a:rPr>
              <a:t>Haha</a:t>
            </a:r>
            <a:r>
              <a:rPr lang="zh-CN" altLang="en-US" sz="1620" b="1" dirty="0">
                <a:latin typeface="+mn-ea"/>
              </a:rPr>
              <a:t>） 老师为例 </a:t>
            </a:r>
            <a:r>
              <a:rPr lang="en-US" altLang="zh-CN" sz="1620" dirty="0">
                <a:latin typeface="+mn-ea"/>
              </a:rPr>
              <a:t>   </a:t>
            </a:r>
            <a:r>
              <a:rPr lang="en-US" altLang="zh-CN" sz="1620" dirty="0" err="1">
                <a:latin typeface="+mn-ea"/>
              </a:rPr>
              <a:t>Wa</a:t>
            </a:r>
            <a:r>
              <a:rPr lang="en-US" altLang="zh-CN" sz="1620" dirty="0">
                <a:latin typeface="+mn-ea"/>
              </a:rPr>
              <a:t> </a:t>
            </a:r>
            <a:r>
              <a:rPr lang="en-US" altLang="zh-CN" sz="1620" dirty="0" err="1">
                <a:latin typeface="+mn-ea"/>
              </a:rPr>
              <a:t>haha</a:t>
            </a:r>
            <a:r>
              <a:rPr lang="en-US" altLang="zh-CN" sz="1620" dirty="0">
                <a:latin typeface="+mn-ea"/>
              </a:rPr>
              <a:t> or </a:t>
            </a:r>
            <a:r>
              <a:rPr lang="en-US" altLang="zh-CN" sz="1620" dirty="0" err="1">
                <a:latin typeface="+mn-ea"/>
              </a:rPr>
              <a:t>Wa</a:t>
            </a:r>
            <a:r>
              <a:rPr lang="en-US" altLang="zh-CN" sz="1620" dirty="0">
                <a:latin typeface="+mn-ea"/>
              </a:rPr>
              <a:t> ha-ha or </a:t>
            </a:r>
            <a:r>
              <a:rPr lang="en-US" altLang="zh-CN" sz="1620" dirty="0" err="1">
                <a:latin typeface="+mn-ea"/>
              </a:rPr>
              <a:t>Wa</a:t>
            </a:r>
            <a:r>
              <a:rPr lang="en-US" altLang="zh-CN" sz="1620" dirty="0">
                <a:latin typeface="+mn-ea"/>
              </a:rPr>
              <a:t> </a:t>
            </a:r>
            <a:r>
              <a:rPr lang="en-US" altLang="zh-CN" sz="1620" dirty="0" err="1">
                <a:latin typeface="+mn-ea"/>
              </a:rPr>
              <a:t>hh</a:t>
            </a:r>
            <a:r>
              <a:rPr lang="en-US" altLang="zh-CN" sz="1620" dirty="0">
                <a:latin typeface="+mn-ea"/>
              </a:rPr>
              <a:t> or </a:t>
            </a:r>
            <a:r>
              <a:rPr lang="en-US" altLang="zh-CN" sz="1620" dirty="0" err="1">
                <a:latin typeface="+mn-ea"/>
              </a:rPr>
              <a:t>Wa</a:t>
            </a:r>
            <a:r>
              <a:rPr lang="en-US" altLang="zh-CN" sz="1620" dirty="0">
                <a:latin typeface="+mn-ea"/>
              </a:rPr>
              <a:t> h-h or </a:t>
            </a:r>
            <a:r>
              <a:rPr lang="en-US" altLang="zh-CN" sz="1620" dirty="0" err="1">
                <a:latin typeface="+mn-ea"/>
              </a:rPr>
              <a:t>Wa</a:t>
            </a:r>
            <a:r>
              <a:rPr lang="en-US" altLang="zh-CN" sz="1620" dirty="0">
                <a:latin typeface="+mn-ea"/>
              </a:rPr>
              <a:t> h or </a:t>
            </a:r>
            <a:r>
              <a:rPr lang="en-US" altLang="zh-CN" sz="1620" dirty="0" err="1">
                <a:latin typeface="+mn-ea"/>
              </a:rPr>
              <a:t>haha</a:t>
            </a:r>
            <a:r>
              <a:rPr lang="en-US" altLang="zh-CN" sz="1620" dirty="0">
                <a:latin typeface="+mn-ea"/>
              </a:rPr>
              <a:t> </a:t>
            </a:r>
            <a:r>
              <a:rPr lang="en-US" altLang="zh-CN" sz="1620" dirty="0" err="1">
                <a:latin typeface="+mn-ea"/>
              </a:rPr>
              <a:t>wa</a:t>
            </a:r>
            <a:r>
              <a:rPr lang="en-US" altLang="zh-CN" sz="1620" dirty="0">
                <a:latin typeface="+mn-ea"/>
              </a:rPr>
              <a:t> or ha-ha </a:t>
            </a:r>
            <a:r>
              <a:rPr lang="en-US" altLang="zh-CN" sz="1620" dirty="0" err="1">
                <a:latin typeface="+mn-ea"/>
              </a:rPr>
              <a:t>wa</a:t>
            </a:r>
            <a:r>
              <a:rPr lang="en-US" altLang="zh-CN" sz="1620" dirty="0">
                <a:latin typeface="+mn-ea"/>
              </a:rPr>
              <a:t> or </a:t>
            </a:r>
            <a:r>
              <a:rPr lang="en-US" altLang="zh-CN" sz="1620" dirty="0" err="1">
                <a:latin typeface="+mn-ea"/>
              </a:rPr>
              <a:t>haha</a:t>
            </a:r>
            <a:r>
              <a:rPr lang="en-US" altLang="zh-CN" sz="1620" dirty="0">
                <a:latin typeface="+mn-ea"/>
              </a:rPr>
              <a:t> w or ha-ha w </a:t>
            </a:r>
          </a:p>
          <a:p>
            <a:pPr marL="129774" indent="-123820" defTabSz="342887">
              <a:lnSpc>
                <a:spcPct val="120000"/>
              </a:lnSpc>
              <a:spcAft>
                <a:spcPts val="0"/>
              </a:spcAft>
              <a:buFont typeface="Wingdings" pitchFamily="2" charset="2"/>
              <a:buChar char="u"/>
              <a:defRPr/>
            </a:pPr>
            <a:r>
              <a:rPr lang="zh-CN" altLang="en-US" sz="1620" b="1" dirty="0">
                <a:latin typeface="+mn-ea"/>
              </a:rPr>
              <a:t>建议大家采用截词符  “ * </a:t>
            </a:r>
            <a:r>
              <a:rPr lang="en-US" altLang="zh-CN" sz="1620" b="1" dirty="0">
                <a:latin typeface="+mn-ea"/>
              </a:rPr>
              <a:t>”</a:t>
            </a:r>
            <a:r>
              <a:rPr lang="zh-CN" altLang="en-US" sz="1620" b="1" dirty="0">
                <a:latin typeface="+mn-ea"/>
              </a:rPr>
              <a:t>，以三种形式来代替，并用其他检索字段来限制 </a:t>
            </a:r>
            <a:r>
              <a:rPr lang="en-US" altLang="zh-CN" sz="1620" b="1" dirty="0">
                <a:solidFill>
                  <a:srgbClr val="FF0000"/>
                </a:solidFill>
                <a:latin typeface="+mn-ea"/>
              </a:rPr>
              <a:t>  </a:t>
            </a:r>
            <a:r>
              <a:rPr lang="en-US" altLang="zh-CN" sz="1620" b="1" dirty="0" err="1">
                <a:latin typeface="+mn-ea"/>
              </a:rPr>
              <a:t>Wa</a:t>
            </a:r>
            <a:r>
              <a:rPr lang="en-US" altLang="zh-CN" sz="1620" b="1" dirty="0">
                <a:latin typeface="+mn-ea"/>
              </a:rPr>
              <a:t> H* or </a:t>
            </a:r>
            <a:r>
              <a:rPr lang="en-US" altLang="zh-CN" sz="1620" b="1" dirty="0" err="1">
                <a:latin typeface="+mn-ea"/>
              </a:rPr>
              <a:t>haha</a:t>
            </a:r>
            <a:r>
              <a:rPr lang="en-US" altLang="zh-CN" sz="1620" b="1" dirty="0">
                <a:latin typeface="+mn-ea"/>
              </a:rPr>
              <a:t> w* or ha-ha w *</a:t>
            </a:r>
          </a:p>
          <a:p>
            <a:pPr marL="129774" indent="-123820" defTabSz="342887">
              <a:lnSpc>
                <a:spcPct val="120000"/>
              </a:lnSpc>
              <a:spcAft>
                <a:spcPts val="0"/>
              </a:spcAft>
              <a:buFont typeface="Wingdings" pitchFamily="2" charset="2"/>
              <a:buChar char="u"/>
              <a:defRPr/>
            </a:pPr>
            <a:r>
              <a:rPr lang="zh-CN" altLang="en-US" sz="1620" b="1" dirty="0">
                <a:latin typeface="+mn-ea"/>
              </a:rPr>
              <a:t>利用作者单位提高查准率</a:t>
            </a:r>
            <a:r>
              <a:rPr lang="en-US" sz="1620" b="1" dirty="0">
                <a:latin typeface="+mn-ea"/>
              </a:rPr>
              <a:t></a:t>
            </a:r>
          </a:p>
          <a:p>
            <a:pPr marL="0" indent="0" defTabSz="342887">
              <a:lnSpc>
                <a:spcPct val="120000"/>
              </a:lnSpc>
              <a:spcAft>
                <a:spcPts val="0"/>
              </a:spcAft>
              <a:buNone/>
              <a:defRPr/>
            </a:pPr>
            <a:r>
              <a:rPr lang="en-US" sz="1620" b="1" dirty="0">
                <a:latin typeface="+mn-ea"/>
              </a:rPr>
              <a:t> </a:t>
            </a:r>
            <a:r>
              <a:rPr lang="en-US" b="1" dirty="0">
                <a:solidFill>
                  <a:srgbClr val="FF0000"/>
                </a:solidFill>
                <a:latin typeface="+mn-ea"/>
              </a:rPr>
              <a:t>((</a:t>
            </a:r>
            <a:r>
              <a:rPr lang="en-US" altLang="zh-CN" b="1" dirty="0" err="1">
                <a:solidFill>
                  <a:srgbClr val="FF0000"/>
                </a:solidFill>
                <a:latin typeface="+mn-ea"/>
              </a:rPr>
              <a:t>Wa</a:t>
            </a:r>
            <a:r>
              <a:rPr lang="en-US" altLang="zh-CN" b="1" dirty="0">
                <a:solidFill>
                  <a:srgbClr val="FF0000"/>
                </a:solidFill>
                <a:latin typeface="+mn-ea"/>
              </a:rPr>
              <a:t> H* </a:t>
            </a:r>
            <a:r>
              <a:rPr lang="en-US" b="1" dirty="0">
                <a:solidFill>
                  <a:srgbClr val="FF0000"/>
                </a:solidFill>
                <a:latin typeface="+mn-ea"/>
              </a:rPr>
              <a:t>) or (</a:t>
            </a:r>
            <a:r>
              <a:rPr lang="en-US" altLang="zh-CN" b="1" dirty="0" err="1">
                <a:solidFill>
                  <a:srgbClr val="FF0000"/>
                </a:solidFill>
                <a:latin typeface="+mn-ea"/>
              </a:rPr>
              <a:t>haha</a:t>
            </a:r>
            <a:r>
              <a:rPr lang="en-US" altLang="zh-CN" b="1" dirty="0">
                <a:solidFill>
                  <a:srgbClr val="FF0000"/>
                </a:solidFill>
                <a:latin typeface="+mn-ea"/>
              </a:rPr>
              <a:t> w* </a:t>
            </a:r>
            <a:r>
              <a:rPr lang="en-US" b="1" dirty="0">
                <a:solidFill>
                  <a:srgbClr val="FF0000"/>
                </a:solidFill>
                <a:latin typeface="+mn-ea"/>
              </a:rPr>
              <a:t>) or (</a:t>
            </a:r>
            <a:r>
              <a:rPr lang="en-US" altLang="zh-CN" b="1" dirty="0">
                <a:solidFill>
                  <a:srgbClr val="FF0000"/>
                </a:solidFill>
                <a:latin typeface="+mn-ea"/>
              </a:rPr>
              <a:t>ha-ha w *</a:t>
            </a:r>
            <a:r>
              <a:rPr lang="en-US" b="1" dirty="0">
                <a:solidFill>
                  <a:srgbClr val="FF0000"/>
                </a:solidFill>
                <a:latin typeface="+mn-ea"/>
              </a:rPr>
              <a:t>)) </a:t>
            </a:r>
            <a:r>
              <a:rPr lang="en-US" b="1" dirty="0" err="1">
                <a:solidFill>
                  <a:srgbClr val="FF0000"/>
                </a:solidFill>
                <a:latin typeface="+mn-ea"/>
              </a:rPr>
              <a:t>wn</a:t>
            </a:r>
            <a:r>
              <a:rPr lang="en-US" b="1" dirty="0">
                <a:solidFill>
                  <a:srgbClr val="FF0000"/>
                </a:solidFill>
                <a:latin typeface="+mn-ea"/>
              </a:rPr>
              <a:t> au AND (XXX </a:t>
            </a:r>
            <a:r>
              <a:rPr lang="en-US" b="1" dirty="0" err="1">
                <a:solidFill>
                  <a:srgbClr val="FF0000"/>
                </a:solidFill>
                <a:latin typeface="+mn-ea"/>
              </a:rPr>
              <a:t>onear</a:t>
            </a:r>
            <a:r>
              <a:rPr lang="en-US" b="1" dirty="0">
                <a:solidFill>
                  <a:srgbClr val="FF0000"/>
                </a:solidFill>
                <a:latin typeface="+mn-ea"/>
              </a:rPr>
              <a:t> </a:t>
            </a:r>
            <a:r>
              <a:rPr lang="en-US" b="1" dirty="0" err="1">
                <a:solidFill>
                  <a:srgbClr val="FF0000"/>
                </a:solidFill>
                <a:latin typeface="+mn-ea"/>
              </a:rPr>
              <a:t>univ</a:t>
            </a:r>
            <a:r>
              <a:rPr lang="en-US" b="1" dirty="0">
                <a:solidFill>
                  <a:srgbClr val="FF0000"/>
                </a:solidFill>
                <a:latin typeface="+mn-ea"/>
              </a:rPr>
              <a:t>* ) </a:t>
            </a:r>
            <a:r>
              <a:rPr lang="en-US" b="1" dirty="0" err="1">
                <a:solidFill>
                  <a:srgbClr val="FF0000"/>
                </a:solidFill>
                <a:latin typeface="+mn-ea"/>
              </a:rPr>
              <a:t>wn</a:t>
            </a:r>
            <a:r>
              <a:rPr lang="en-US" b="1" dirty="0">
                <a:solidFill>
                  <a:srgbClr val="FF0000"/>
                </a:solidFill>
                <a:latin typeface="+mn-ea"/>
              </a:rPr>
              <a:t> </a:t>
            </a:r>
            <a:r>
              <a:rPr lang="en-US" b="1" dirty="0" err="1">
                <a:solidFill>
                  <a:srgbClr val="FF0000"/>
                </a:solidFill>
                <a:latin typeface="+mn-ea"/>
              </a:rPr>
              <a:t>af</a:t>
            </a:r>
            <a:r>
              <a:rPr lang="en-US" b="1" dirty="0">
                <a:solidFill>
                  <a:srgbClr val="FF0000"/>
                </a:solidFill>
                <a:latin typeface="+mn-ea"/>
              </a:rPr>
              <a:t> )</a:t>
            </a:r>
            <a:endParaRPr lang="en-US" altLang="zh-CN" b="1" dirty="0">
              <a:solidFill>
                <a:srgbClr val="FF0000"/>
              </a:solidFill>
              <a:latin typeface="+mn-ea"/>
            </a:endParaRPr>
          </a:p>
          <a:p>
            <a:pPr marL="129774" indent="-123820" defTabSz="342887">
              <a:lnSpc>
                <a:spcPct val="120000"/>
              </a:lnSpc>
              <a:spcAft>
                <a:spcPts val="0"/>
              </a:spcAft>
              <a:buFont typeface="Wingdings" pitchFamily="2" charset="2"/>
              <a:buChar char="u"/>
              <a:defRPr/>
            </a:pPr>
            <a:r>
              <a:rPr lang="zh-CN" altLang="en-US" sz="1620" b="1" dirty="0">
                <a:latin typeface="+mn-ea"/>
              </a:rPr>
              <a:t>用作者查不到某篇文章时，可用篇名试试</a:t>
            </a:r>
            <a:endParaRPr lang="en-US" altLang="zh-CN" sz="1620" b="1" dirty="0">
              <a:latin typeface="+mn-ea"/>
            </a:endParaRPr>
          </a:p>
          <a:p>
            <a:pPr marL="129774" indent="-123820" defTabSz="342887">
              <a:lnSpc>
                <a:spcPct val="120000"/>
              </a:lnSpc>
              <a:spcAft>
                <a:spcPts val="0"/>
              </a:spcAft>
              <a:buFont typeface="Arial"/>
              <a:buChar char="•"/>
              <a:defRPr/>
            </a:pPr>
            <a:endParaRPr lang="zh-CN" altLang="en-US" b="1" dirty="0">
              <a:latin typeface="+mn-ea"/>
            </a:endParaRPr>
          </a:p>
        </p:txBody>
      </p:sp>
    </p:spTree>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3B8AC274-CF65-4775-A8AE-152771E2E94A}"/>
              </a:ext>
            </a:extLst>
          </p:cNvPr>
          <p:cNvSpPr>
            <a:spLocks noGrp="1" noChangeArrowheads="1"/>
          </p:cNvSpPr>
          <p:nvPr>
            <p:ph type="title"/>
          </p:nvPr>
        </p:nvSpPr>
        <p:spPr>
          <a:xfrm>
            <a:off x="1375887" y="492919"/>
            <a:ext cx="6625113" cy="622935"/>
          </a:xfrm>
        </p:spPr>
        <p:txBody>
          <a:bodyPr/>
          <a:lstStyle/>
          <a:p>
            <a:pPr eaLnBrk="1" hangingPunct="1"/>
            <a:r>
              <a:rPr lang="zh-CN" altLang="en-US" sz="2880">
                <a:latin typeface="Arial Bold" panose="020B0704020202020204" pitchFamily="34" charset="0"/>
                <a:cs typeface="Arial Bold" panose="020B0704020202020204" pitchFamily="34" charset="0"/>
              </a:rPr>
              <a:t>查收</a:t>
            </a:r>
            <a:r>
              <a:rPr lang="en-US" altLang="zh-CN" sz="2880">
                <a:latin typeface="Arial Bold" panose="020B0704020202020204" pitchFamily="34" charset="0"/>
                <a:cs typeface="Arial Bold" panose="020B0704020202020204" pitchFamily="34" charset="0"/>
              </a:rPr>
              <a:t>-</a:t>
            </a:r>
            <a:r>
              <a:rPr lang="zh-CN" altLang="en-US" sz="2880">
                <a:latin typeface="Arial Bold" panose="020B0704020202020204" pitchFamily="34" charset="0"/>
                <a:cs typeface="Arial Bold" panose="020B0704020202020204" pitchFamily="34" charset="0"/>
              </a:rPr>
              <a:t>机构检索</a:t>
            </a:r>
            <a:br>
              <a:rPr lang="en-US" altLang="zh-CN" sz="2880">
                <a:latin typeface="Arial Bold" panose="020B0704020202020204" pitchFamily="34" charset="0"/>
                <a:cs typeface="Arial Bold" panose="020B0704020202020204" pitchFamily="34" charset="0"/>
              </a:rPr>
            </a:br>
            <a:endParaRPr lang="en-US" altLang="en-US" sz="2880">
              <a:latin typeface="Arial Bold" panose="020B0704020202020204" pitchFamily="34" charset="0"/>
              <a:cs typeface="Arial Bold" panose="020B0704020202020204" pitchFamily="34" charset="0"/>
            </a:endParaRPr>
          </a:p>
        </p:txBody>
      </p:sp>
      <p:sp>
        <p:nvSpPr>
          <p:cNvPr id="3" name="Content Placeholder 2">
            <a:extLst>
              <a:ext uri="{FF2B5EF4-FFF2-40B4-BE49-F238E27FC236}">
                <a16:creationId xmlns:a16="http://schemas.microsoft.com/office/drawing/2014/main" id="{C0F9669D-2034-4970-8971-2AF5B102757B}"/>
              </a:ext>
            </a:extLst>
          </p:cNvPr>
          <p:cNvSpPr>
            <a:spLocks noGrp="1"/>
          </p:cNvSpPr>
          <p:nvPr>
            <p:ph idx="1"/>
          </p:nvPr>
        </p:nvSpPr>
        <p:spPr/>
        <p:txBody>
          <a:bodyPr rtlCol="0">
            <a:noAutofit/>
          </a:bodyPr>
          <a:lstStyle/>
          <a:p>
            <a:pPr marL="129774" indent="-123820" defTabSz="342887">
              <a:spcAft>
                <a:spcPts val="0"/>
              </a:spcAft>
              <a:buFont typeface="Arial"/>
              <a:buChar char="•"/>
              <a:defRPr/>
            </a:pPr>
            <a:r>
              <a:rPr lang="zh-CN" altLang="en-US" sz="2100" dirty="0"/>
              <a:t>推荐检索式：</a:t>
            </a:r>
            <a:endParaRPr lang="en-US" altLang="zh-CN" sz="2100" dirty="0"/>
          </a:p>
          <a:p>
            <a:pPr marL="129774" indent="-123820" defTabSz="342887">
              <a:spcAft>
                <a:spcPts val="0"/>
              </a:spcAft>
              <a:buFont typeface="Arial"/>
              <a:buChar char="•"/>
              <a:defRPr/>
            </a:pPr>
            <a:r>
              <a:rPr lang="zh-CN" altLang="en-US" sz="2100" dirty="0"/>
              <a:t>以清华大学为例</a:t>
            </a:r>
            <a:endParaRPr lang="en-US" altLang="zh-CN" sz="2100" dirty="0"/>
          </a:p>
          <a:p>
            <a:pPr marL="129774" indent="-123820" defTabSz="342887">
              <a:spcAft>
                <a:spcPts val="0"/>
              </a:spcAft>
              <a:buFont typeface="Arial"/>
              <a:buChar char="•"/>
              <a:defRPr/>
            </a:pPr>
            <a:r>
              <a:rPr lang="en-US" altLang="zh-CN" sz="2100" dirty="0"/>
              <a:t>(</a:t>
            </a:r>
            <a:r>
              <a:rPr lang="en-US" altLang="zh-CN" sz="2100" dirty="0" err="1"/>
              <a:t>tsinghua</a:t>
            </a:r>
            <a:r>
              <a:rPr lang="en-US" altLang="zh-CN" sz="2100" dirty="0"/>
              <a:t> </a:t>
            </a:r>
            <a:r>
              <a:rPr lang="en-US" altLang="zh-CN" sz="2100" dirty="0" err="1"/>
              <a:t>onear</a:t>
            </a:r>
            <a:r>
              <a:rPr lang="en-US" altLang="zh-CN" sz="2100" dirty="0"/>
              <a:t> </a:t>
            </a:r>
            <a:r>
              <a:rPr lang="en-US" altLang="zh-CN" sz="2100" dirty="0" err="1"/>
              <a:t>univ</a:t>
            </a:r>
            <a:r>
              <a:rPr lang="en-US" altLang="zh-CN" sz="2100" dirty="0"/>
              <a:t>* and (</a:t>
            </a:r>
            <a:r>
              <a:rPr lang="en-US" altLang="zh-CN" sz="2100" dirty="0" err="1"/>
              <a:t>beijing</a:t>
            </a:r>
            <a:r>
              <a:rPr lang="en-US" altLang="zh-CN" sz="2100" dirty="0"/>
              <a:t> or 100084 or china)) </a:t>
            </a:r>
            <a:r>
              <a:rPr lang="en-US" altLang="zh-CN" sz="2100" dirty="0" err="1"/>
              <a:t>wn</a:t>
            </a:r>
            <a:r>
              <a:rPr lang="en-US" altLang="zh-CN" sz="2100" dirty="0"/>
              <a:t> </a:t>
            </a:r>
            <a:r>
              <a:rPr lang="en-US" altLang="zh-CN" sz="2100" dirty="0" err="1"/>
              <a:t>af</a:t>
            </a:r>
            <a:r>
              <a:rPr lang="en-US" altLang="zh-CN" sz="2100" dirty="0"/>
              <a:t> and 2015 </a:t>
            </a:r>
            <a:r>
              <a:rPr lang="en-US" altLang="zh-CN" sz="2100" dirty="0" err="1"/>
              <a:t>wn</a:t>
            </a:r>
            <a:r>
              <a:rPr lang="en-US" altLang="zh-CN" sz="2100" dirty="0"/>
              <a:t> </a:t>
            </a:r>
            <a:r>
              <a:rPr lang="en-US" altLang="zh-CN" sz="2100" dirty="0" err="1"/>
              <a:t>yr</a:t>
            </a:r>
            <a:endParaRPr lang="en-US" altLang="zh-CN" sz="2100" dirty="0"/>
          </a:p>
          <a:p>
            <a:pPr marL="129774" indent="-123820" defTabSz="342887">
              <a:spcAft>
                <a:spcPts val="0"/>
              </a:spcAft>
              <a:buFont typeface="Arial"/>
              <a:buChar char="•"/>
              <a:defRPr/>
            </a:pPr>
            <a:r>
              <a:rPr lang="zh-CN" altLang="en-US" sz="2100" dirty="0"/>
              <a:t>由</a:t>
            </a:r>
            <a:r>
              <a:rPr lang="en-US" sz="2100" dirty="0"/>
              <a:t>refine </a:t>
            </a:r>
            <a:r>
              <a:rPr lang="en-US" sz="2100" dirty="0" err="1"/>
              <a:t>results－author</a:t>
            </a:r>
            <a:r>
              <a:rPr lang="en-US" sz="2100" dirty="0"/>
              <a:t> affiliation</a:t>
            </a:r>
            <a:r>
              <a:rPr lang="zh-CN" altLang="en-US" sz="2100" dirty="0"/>
              <a:t>可知，均为清华大学。</a:t>
            </a:r>
            <a:endParaRPr lang="en-US" altLang="zh-CN" sz="2100" dirty="0"/>
          </a:p>
          <a:p>
            <a:pPr marL="129774" indent="-123820" defTabSz="342887">
              <a:spcAft>
                <a:spcPts val="0"/>
              </a:spcAft>
              <a:buFont typeface="Arial"/>
              <a:buChar char="•"/>
              <a:defRPr/>
            </a:pPr>
            <a:r>
              <a:rPr lang="zh-CN" altLang="en-US" sz="2100" dirty="0"/>
              <a:t>（此检索式只供参考，在借鉴使用时一定要考虑自身情况优化）</a:t>
            </a:r>
            <a:endParaRPr lang="en-US" sz="2100" dirty="0"/>
          </a:p>
        </p:txBody>
      </p:sp>
      <p:sp>
        <p:nvSpPr>
          <p:cNvPr id="4" name="Rectangle 3">
            <a:extLst>
              <a:ext uri="{FF2B5EF4-FFF2-40B4-BE49-F238E27FC236}">
                <a16:creationId xmlns:a16="http://schemas.microsoft.com/office/drawing/2014/main" id="{CA37F033-8538-4239-896A-B0381315D4E3}"/>
              </a:ext>
            </a:extLst>
          </p:cNvPr>
          <p:cNvSpPr/>
          <p:nvPr/>
        </p:nvSpPr>
        <p:spPr>
          <a:xfrm>
            <a:off x="4479132" y="4646296"/>
            <a:ext cx="2988945" cy="207749"/>
          </a:xfrm>
          <a:prstGeom prst="rect">
            <a:avLst/>
          </a:prstGeom>
        </p:spPr>
        <p:txBody>
          <a:bodyPr>
            <a:spAutoFit/>
          </a:bodyPr>
          <a:lstStyle/>
          <a:p>
            <a:pPr defTabSz="320954">
              <a:defRPr/>
            </a:pPr>
            <a:r>
              <a:rPr lang="zh-CN" altLang="en-US" sz="750" dirty="0"/>
              <a:t>此页引自清华大学图书馆花芳</a:t>
            </a:r>
            <a:r>
              <a:rPr lang="en-US" altLang="zh-CN" sz="750" dirty="0"/>
              <a:t>《</a:t>
            </a:r>
            <a:r>
              <a:rPr lang="zh-CN" altLang="en-US" sz="750" dirty="0"/>
              <a:t>文摘库</a:t>
            </a:r>
            <a:r>
              <a:rPr lang="en-US" altLang="zh-CN" sz="750" b="1" dirty="0" err="1"/>
              <a:t>Ei</a:t>
            </a:r>
            <a:r>
              <a:rPr lang="zh-CN" altLang="en-US" sz="750" dirty="0"/>
              <a:t>在文献调研中的应用</a:t>
            </a:r>
            <a:r>
              <a:rPr lang="en-US" altLang="zh-CN" sz="750" dirty="0"/>
              <a:t>》</a:t>
            </a:r>
            <a:endParaRPr lang="en-US" sz="750" dirty="0"/>
          </a:p>
        </p:txBody>
      </p:sp>
    </p:spTree>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標題 3">
            <a:extLst>
              <a:ext uri="{FF2B5EF4-FFF2-40B4-BE49-F238E27FC236}">
                <a16:creationId xmlns:a16="http://schemas.microsoft.com/office/drawing/2014/main" id="{DBEDFEF7-76DB-4A05-9046-E747E1C2F1DE}"/>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67587" name="標題 4">
            <a:extLst>
              <a:ext uri="{FF2B5EF4-FFF2-40B4-BE49-F238E27FC236}">
                <a16:creationId xmlns:a16="http://schemas.microsoft.com/office/drawing/2014/main" id="{ABAD6774-81BA-49A1-A839-1E2131BF266E}"/>
              </a:ext>
            </a:extLst>
          </p:cNvPr>
          <p:cNvSpPr txBox="1">
            <a:spLocks noChangeArrowheads="1"/>
          </p:cNvSpPr>
          <p:nvPr/>
        </p:nvSpPr>
        <p:spPr bwMode="auto">
          <a:xfrm>
            <a:off x="1524477" y="3810477"/>
            <a:ext cx="5829300"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buFont typeface="Times" panose="02020603050405020304" pitchFamily="18" charset="0"/>
              <a:buNone/>
            </a:pPr>
            <a:r>
              <a:rPr lang="en-US" altLang="zh-TW" sz="2520" b="1">
                <a:solidFill>
                  <a:srgbClr val="003C79"/>
                </a:solidFill>
                <a:latin typeface="Microsoft JhengHei" panose="020B0604030504040204" pitchFamily="34" charset="-120"/>
              </a:rPr>
              <a:t>Thesaurus Search – </a:t>
            </a:r>
            <a:r>
              <a:rPr lang="zh-CN" altLang="en-US" sz="2520" b="1">
                <a:solidFill>
                  <a:srgbClr val="003C79"/>
                </a:solidFill>
                <a:latin typeface="黑体" panose="02010609060101010101" pitchFamily="49" charset="-122"/>
              </a:rPr>
              <a:t>叙词</a:t>
            </a:r>
            <a:r>
              <a:rPr lang="zh-TW" altLang="en-US" sz="2520" b="1">
                <a:solidFill>
                  <a:srgbClr val="003C79"/>
                </a:solidFill>
                <a:latin typeface="Microsoft JhengHei" panose="020B0604030504040204" pitchFamily="34" charset="-120"/>
              </a:rPr>
              <a:t>检索</a:t>
            </a:r>
          </a:p>
        </p:txBody>
      </p:sp>
      <p:pic>
        <p:nvPicPr>
          <p:cNvPr id="67588" name="Picture 3" descr="C:\Users\LiuK002\Desktop\Elsevier related\Elsevier pictures\EV\EV_13.bmp">
            <a:extLst>
              <a:ext uri="{FF2B5EF4-FFF2-40B4-BE49-F238E27FC236}">
                <a16:creationId xmlns:a16="http://schemas.microsoft.com/office/drawing/2014/main" id="{59FE34A3-774A-45A7-BFFC-F04672AA40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47975" y="4247674"/>
            <a:ext cx="1178718" cy="735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89" name="Picture 6" descr="图片1副本">
            <a:extLst>
              <a:ext uri="{FF2B5EF4-FFF2-40B4-BE49-F238E27FC236}">
                <a16:creationId xmlns:a16="http://schemas.microsoft.com/office/drawing/2014/main" id="{030795E7-DC83-4811-9466-8E7779346B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44" y="0"/>
            <a:ext cx="9104156" cy="3829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096BC9E3-4CD6-448F-9470-A1E388947EC2}"/>
              </a:ext>
            </a:extLst>
          </p:cNvPr>
          <p:cNvSpPr>
            <a:spLocks noGrp="1" noChangeArrowheads="1"/>
          </p:cNvSpPr>
          <p:nvPr>
            <p:ph type="title"/>
          </p:nvPr>
        </p:nvSpPr>
        <p:spPr>
          <a:xfrm>
            <a:off x="1375887" y="450057"/>
            <a:ext cx="6625113" cy="345758"/>
          </a:xfrm>
        </p:spPr>
        <p:txBody>
          <a:bodyPr/>
          <a:lstStyle/>
          <a:p>
            <a:pPr eaLnBrk="1" hangingPunct="1"/>
            <a:r>
              <a:rPr lang="zh-CN" altLang="en-US" sz="2160">
                <a:latin typeface="Arial Bold" panose="020B0704020202020204" pitchFamily="34" charset="0"/>
                <a:cs typeface="Arial Bold" panose="020B0704020202020204" pitchFamily="34" charset="0"/>
              </a:rPr>
              <a:t>提高主题检索效率的方法 （准且全）</a:t>
            </a:r>
            <a:endParaRPr lang="en-US" altLang="en-US" sz="2160">
              <a:latin typeface="Arial Bold" panose="020B0704020202020204" pitchFamily="34" charset="0"/>
              <a:cs typeface="Arial Bold" panose="020B0704020202020204" pitchFamily="34" charset="0"/>
            </a:endParaRPr>
          </a:p>
        </p:txBody>
      </p:sp>
      <p:sp>
        <p:nvSpPr>
          <p:cNvPr id="69635" name="Content Placeholder 2">
            <a:extLst>
              <a:ext uri="{FF2B5EF4-FFF2-40B4-BE49-F238E27FC236}">
                <a16:creationId xmlns:a16="http://schemas.microsoft.com/office/drawing/2014/main" id="{1A6A9377-A6D2-4038-8D43-C2227D1372BA}"/>
              </a:ext>
            </a:extLst>
          </p:cNvPr>
          <p:cNvSpPr>
            <a:spLocks noGrp="1" noChangeArrowheads="1"/>
          </p:cNvSpPr>
          <p:nvPr>
            <p:ph idx="1"/>
          </p:nvPr>
        </p:nvSpPr>
        <p:spPr>
          <a:xfrm>
            <a:off x="1655922" y="1002983"/>
            <a:ext cx="5943600" cy="3030379"/>
          </a:xfrm>
        </p:spPr>
        <p:txBody>
          <a:bodyPr>
            <a:normAutofit fontScale="92500" lnSpcReduction="10000"/>
          </a:bodyPr>
          <a:lstStyle/>
          <a:p>
            <a:pPr eaLnBrk="1" hangingPunct="1"/>
            <a:r>
              <a:rPr lang="zh-CN" altLang="en-US">
                <a:latin typeface="Arial" panose="020B0604020202020204" pitchFamily="34" charset="0"/>
                <a:cs typeface="Arial" panose="020B0604020202020204" pitchFamily="34" charset="0"/>
              </a:rPr>
              <a:t>从文中选词检索易漏检或误检</a:t>
            </a:r>
            <a:endParaRPr lang="en-US" altLang="zh-CN">
              <a:latin typeface="Arial" panose="020B0604020202020204" pitchFamily="34" charset="0"/>
              <a:cs typeface="Arial" panose="020B0604020202020204" pitchFamily="34" charset="0"/>
            </a:endParaRPr>
          </a:p>
          <a:p>
            <a:pPr lvl="1" eaLnBrk="1" hangingPunct="1"/>
            <a:r>
              <a:rPr lang="zh-CN" altLang="en-US" sz="1800">
                <a:latin typeface="Arial" panose="020B0604020202020204" pitchFamily="34" charset="0"/>
              </a:rPr>
              <a:t>一个概念有多种表示－</a:t>
            </a:r>
            <a:r>
              <a:rPr lang="zh-CN" altLang="en-US" sz="1800" b="1">
                <a:solidFill>
                  <a:srgbClr val="FF0000"/>
                </a:solidFill>
                <a:latin typeface="Arial" panose="020B0604020202020204" pitchFamily="34" charset="0"/>
              </a:rPr>
              <a:t>导致漏检</a:t>
            </a:r>
            <a:r>
              <a:rPr lang="zh-CN" altLang="en-US" sz="1800">
                <a:latin typeface="Arial" panose="020B0604020202020204" pitchFamily="34" charset="0"/>
              </a:rPr>
              <a:t> </a:t>
            </a:r>
            <a:r>
              <a:rPr lang="en-US" altLang="zh-CN" sz="1800">
                <a:latin typeface="Arial" panose="020B0604020202020204" pitchFamily="34" charset="0"/>
              </a:rPr>
              <a:t>(</a:t>
            </a:r>
            <a:r>
              <a:rPr lang="zh-CN" altLang="en-US" sz="1800">
                <a:latin typeface="Arial" panose="020B0604020202020204" pitchFamily="34" charset="0"/>
              </a:rPr>
              <a:t>检索时需要收集同义词，费时麻烦且易漏检</a:t>
            </a:r>
            <a:r>
              <a:rPr lang="en-US" altLang="zh-CN" sz="1800">
                <a:latin typeface="Arial" panose="020B0604020202020204" pitchFamily="34" charset="0"/>
              </a:rPr>
              <a:t>)</a:t>
            </a:r>
          </a:p>
          <a:p>
            <a:pPr lvl="1" eaLnBrk="1" hangingPunct="1"/>
            <a:r>
              <a:rPr lang="zh-CN" altLang="en-US" sz="1800">
                <a:latin typeface="Arial" panose="020B0604020202020204" pitchFamily="34" charset="0"/>
              </a:rPr>
              <a:t>一个词可以表示多个概念－</a:t>
            </a:r>
            <a:r>
              <a:rPr lang="zh-CN" altLang="en-US" sz="1800" b="1">
                <a:solidFill>
                  <a:srgbClr val="FF0000"/>
                </a:solidFill>
                <a:latin typeface="Arial" panose="020B0604020202020204" pitchFamily="34" charset="0"/>
              </a:rPr>
              <a:t>导致误检</a:t>
            </a:r>
            <a:r>
              <a:rPr lang="zh-CN" altLang="en-US" sz="1800">
                <a:latin typeface="Arial" panose="020B0604020202020204" pitchFamily="34" charset="0"/>
              </a:rPr>
              <a:t> </a:t>
            </a:r>
            <a:r>
              <a:rPr lang="en-US" altLang="zh-CN" sz="1800">
                <a:latin typeface="Arial" panose="020B0604020202020204" pitchFamily="34" charset="0"/>
              </a:rPr>
              <a:t>(cell </a:t>
            </a:r>
            <a:r>
              <a:rPr lang="zh-CN" altLang="en-US" sz="1800">
                <a:latin typeface="Arial" panose="020B0604020202020204" pitchFamily="34" charset="0"/>
              </a:rPr>
              <a:t>细胞、电池 </a:t>
            </a:r>
            <a:r>
              <a:rPr lang="en-US" altLang="zh-CN" sz="1800">
                <a:latin typeface="Arial" panose="020B0604020202020204" pitchFamily="34" charset="0"/>
              </a:rPr>
              <a:t>Cell wn ti, </a:t>
            </a:r>
            <a:r>
              <a:rPr lang="zh-CN" altLang="en-US" sz="1800">
                <a:latin typeface="Arial" panose="020B0604020202020204" pitchFamily="34" charset="0"/>
              </a:rPr>
              <a:t>检出的文献中有</a:t>
            </a:r>
            <a:r>
              <a:rPr lang="en-US" altLang="zh-CN" sz="1800">
                <a:latin typeface="Arial" panose="020B0604020202020204" pitchFamily="34" charset="0"/>
              </a:rPr>
              <a:t>solar cell, tumor cells</a:t>
            </a:r>
            <a:r>
              <a:rPr lang="zh-CN" altLang="en-US" sz="1800">
                <a:latin typeface="Arial" panose="020B0604020202020204" pitchFamily="34" charset="0"/>
              </a:rPr>
              <a:t>等</a:t>
            </a:r>
            <a:r>
              <a:rPr lang="en-US" altLang="zh-CN" sz="1800">
                <a:latin typeface="Arial" panose="020B0604020202020204" pitchFamily="34" charset="0"/>
              </a:rPr>
              <a:t>)</a:t>
            </a:r>
          </a:p>
          <a:p>
            <a:pPr lvl="1" eaLnBrk="1" hangingPunct="1"/>
            <a:endParaRPr lang="en-US" altLang="zh-CN" sz="1800">
              <a:latin typeface="Arial" panose="020B0604020202020204" pitchFamily="34" charset="0"/>
            </a:endParaRPr>
          </a:p>
          <a:p>
            <a:pPr eaLnBrk="1" hangingPunct="1"/>
            <a:r>
              <a:rPr lang="en-US" altLang="zh-CN" b="1">
                <a:latin typeface="Arial" panose="020B0604020202020204" pitchFamily="34" charset="0"/>
                <a:cs typeface="Arial" panose="020B0604020202020204" pitchFamily="34" charset="0"/>
              </a:rPr>
              <a:t>EI</a:t>
            </a:r>
            <a:r>
              <a:rPr lang="zh-CN" altLang="en-US">
                <a:latin typeface="Arial" panose="020B0604020202020204" pitchFamily="34" charset="0"/>
                <a:cs typeface="Arial" panose="020B0604020202020204" pitchFamily="34" charset="0"/>
              </a:rPr>
              <a:t>的解决方案：对文献进行主题标引</a:t>
            </a:r>
            <a:endParaRPr lang="en-US" altLang="zh-CN">
              <a:latin typeface="Arial" panose="020B0604020202020204" pitchFamily="34" charset="0"/>
              <a:cs typeface="Arial" panose="020B0604020202020204" pitchFamily="34" charset="0"/>
            </a:endParaRPr>
          </a:p>
          <a:p>
            <a:pPr lvl="1" eaLnBrk="1" hangingPunct="1"/>
            <a:r>
              <a:rPr lang="zh-CN" altLang="en-US" sz="1800">
                <a:latin typeface="Arial" panose="020B0604020202020204" pitchFamily="34" charset="0"/>
              </a:rPr>
              <a:t>做到</a:t>
            </a:r>
            <a:r>
              <a:rPr lang="zh-CN" altLang="en-US" sz="1800" b="1">
                <a:solidFill>
                  <a:srgbClr val="FF0000"/>
                </a:solidFill>
                <a:latin typeface="Arial" panose="020B0604020202020204" pitchFamily="34" charset="0"/>
              </a:rPr>
              <a:t>标引词与概念一一对应</a:t>
            </a:r>
            <a:r>
              <a:rPr lang="zh-CN" altLang="en-US" sz="1800">
                <a:latin typeface="Arial" panose="020B0604020202020204" pitchFamily="34" charset="0"/>
              </a:rPr>
              <a:t>，</a:t>
            </a:r>
          </a:p>
          <a:p>
            <a:pPr lvl="1" eaLnBrk="1" hangingPunct="1"/>
            <a:r>
              <a:rPr lang="zh-CN" altLang="en-US" sz="1800">
                <a:latin typeface="Arial" panose="020B0604020202020204" pitchFamily="34" charset="0"/>
              </a:rPr>
              <a:t>标引词来源于词表，故</a:t>
            </a:r>
            <a:r>
              <a:rPr lang="en-US" altLang="zh-CN" sz="1800">
                <a:latin typeface="Arial" panose="020B0604020202020204" pitchFamily="34" charset="0"/>
              </a:rPr>
              <a:t>EI</a:t>
            </a:r>
            <a:r>
              <a:rPr lang="zh-CN" altLang="en-US" sz="1800">
                <a:latin typeface="Arial" panose="020B0604020202020204" pitchFamily="34" charset="0"/>
              </a:rPr>
              <a:t>的标引词也称为受控词</a:t>
            </a:r>
            <a:endParaRPr lang="en-US" altLang="en-US" sz="1800">
              <a:latin typeface="Arial" panose="020B0604020202020204" pitchFamily="34" charset="0"/>
            </a:endParaRPr>
          </a:p>
        </p:txBody>
      </p:sp>
      <p:sp>
        <p:nvSpPr>
          <p:cNvPr id="4" name="Rectangle 3">
            <a:extLst>
              <a:ext uri="{FF2B5EF4-FFF2-40B4-BE49-F238E27FC236}">
                <a16:creationId xmlns:a16="http://schemas.microsoft.com/office/drawing/2014/main" id="{7193AA9B-CDD5-4A02-A366-5825E1DBB702}"/>
              </a:ext>
            </a:extLst>
          </p:cNvPr>
          <p:cNvSpPr/>
          <p:nvPr/>
        </p:nvSpPr>
        <p:spPr>
          <a:xfrm>
            <a:off x="4479132" y="4646296"/>
            <a:ext cx="2988945" cy="207749"/>
          </a:xfrm>
          <a:prstGeom prst="rect">
            <a:avLst/>
          </a:prstGeom>
        </p:spPr>
        <p:txBody>
          <a:bodyPr>
            <a:spAutoFit/>
          </a:bodyPr>
          <a:lstStyle/>
          <a:p>
            <a:pPr defTabSz="320954">
              <a:defRPr/>
            </a:pPr>
            <a:r>
              <a:rPr lang="zh-CN" altLang="en-US" sz="750" dirty="0"/>
              <a:t>此页引自清华大学图书馆花芳</a:t>
            </a:r>
            <a:r>
              <a:rPr lang="en-US" altLang="zh-CN" sz="750" dirty="0"/>
              <a:t>《</a:t>
            </a:r>
            <a:r>
              <a:rPr lang="zh-CN" altLang="en-US" sz="750" dirty="0"/>
              <a:t>文摘库</a:t>
            </a:r>
            <a:r>
              <a:rPr lang="en-US" altLang="zh-CN" sz="750" b="1" dirty="0" err="1"/>
              <a:t>Ei</a:t>
            </a:r>
            <a:r>
              <a:rPr lang="zh-CN" altLang="en-US" sz="750" dirty="0"/>
              <a:t>在文献调研中的应用</a:t>
            </a:r>
            <a:r>
              <a:rPr lang="en-US" altLang="zh-CN" sz="750" dirty="0"/>
              <a:t>》</a:t>
            </a:r>
            <a:endParaRPr lang="en-US" sz="750" dirty="0"/>
          </a:p>
        </p:txBody>
      </p:sp>
    </p:spTree>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59FC8-D986-4345-AC73-E171FDE4CF4C}"/>
              </a:ext>
            </a:extLst>
          </p:cNvPr>
          <p:cNvSpPr>
            <a:spLocks noGrp="1"/>
          </p:cNvSpPr>
          <p:nvPr>
            <p:ph type="title"/>
          </p:nvPr>
        </p:nvSpPr>
        <p:spPr>
          <a:xfrm>
            <a:off x="1331595" y="427197"/>
            <a:ext cx="6177915" cy="312896"/>
          </a:xfrm>
        </p:spPr>
        <p:txBody>
          <a:bodyPr rtlCol="0">
            <a:noAutofit/>
          </a:bodyPr>
          <a:lstStyle/>
          <a:p>
            <a:pPr defTabSz="342887">
              <a:defRPr/>
            </a:pPr>
            <a:r>
              <a:rPr lang="zh-CN" altLang="en-US" sz="2520" dirty="0">
                <a:latin typeface="+mj-ea"/>
              </a:rPr>
              <a:t>叙词表的作用</a:t>
            </a:r>
            <a:endParaRPr lang="en-US" sz="2520" dirty="0">
              <a:latin typeface="+mj-ea"/>
            </a:endParaRPr>
          </a:p>
        </p:txBody>
      </p:sp>
      <p:sp>
        <p:nvSpPr>
          <p:cNvPr id="16387" name="Content Placeholder 2">
            <a:extLst>
              <a:ext uri="{FF2B5EF4-FFF2-40B4-BE49-F238E27FC236}">
                <a16:creationId xmlns:a16="http://schemas.microsoft.com/office/drawing/2014/main" id="{698812BA-1E88-4A60-8DAD-D6CA2E342BAB}"/>
              </a:ext>
            </a:extLst>
          </p:cNvPr>
          <p:cNvSpPr>
            <a:spLocks noGrp="1"/>
          </p:cNvSpPr>
          <p:nvPr>
            <p:ph idx="1"/>
          </p:nvPr>
        </p:nvSpPr>
        <p:spPr>
          <a:xfrm>
            <a:off x="514831" y="862965"/>
            <a:ext cx="8414016" cy="3673317"/>
          </a:xfrm>
        </p:spPr>
        <p:txBody>
          <a:bodyPr rtlCol="0">
            <a:noAutofit/>
          </a:bodyPr>
          <a:lstStyle/>
          <a:p>
            <a:pPr marL="129774" indent="-123820" defTabSz="342887">
              <a:lnSpc>
                <a:spcPct val="125000"/>
              </a:lnSpc>
              <a:spcAft>
                <a:spcPts val="0"/>
              </a:spcAft>
              <a:buFont typeface="Arial"/>
              <a:buChar char="•"/>
              <a:defRPr/>
            </a:pPr>
            <a:r>
              <a:rPr lang="zh-CN" altLang="en-US" sz="1620" dirty="0">
                <a:solidFill>
                  <a:schemeClr val="tx1">
                    <a:lumMod val="50000"/>
                  </a:schemeClr>
                </a:solidFill>
                <a:ea typeface="楷体_GB2312"/>
                <a:cs typeface="楷体_GB2312"/>
              </a:rPr>
              <a:t>叙词表是由专业的规范词组成，它可以将同一主题不同表述的词，按主题内容规范在标准的专业词下，避免了由于词汇书写不同造成漏检，或词义概念混淆导致错检的问题。</a:t>
            </a:r>
            <a:endParaRPr lang="en-US" altLang="zh-CN" sz="1620" dirty="0">
              <a:solidFill>
                <a:schemeClr val="tx1">
                  <a:lumMod val="50000"/>
                </a:schemeClr>
              </a:solidFill>
              <a:ea typeface="楷体_GB2312"/>
              <a:cs typeface="楷体_GB2312"/>
            </a:endParaRPr>
          </a:p>
          <a:p>
            <a:pPr marL="129774" indent="-123820" defTabSz="342887">
              <a:lnSpc>
                <a:spcPct val="125000"/>
              </a:lnSpc>
              <a:spcAft>
                <a:spcPts val="0"/>
              </a:spcAft>
              <a:buFont typeface="Arial"/>
              <a:buChar char="•"/>
              <a:defRPr/>
            </a:pPr>
            <a:r>
              <a:rPr lang="zh-CN" altLang="en-US" sz="1620" dirty="0">
                <a:solidFill>
                  <a:schemeClr val="tx1">
                    <a:lumMod val="50000"/>
                  </a:schemeClr>
                </a:solidFill>
                <a:ea typeface="楷体_GB2312"/>
                <a:cs typeface="楷体_GB2312"/>
              </a:rPr>
              <a:t>用户利用叙词表可从主题角度检索文献，进而提高文献的查准率。</a:t>
            </a:r>
            <a:endParaRPr lang="en-US" altLang="zh-CN" sz="1620" dirty="0">
              <a:solidFill>
                <a:schemeClr val="tx1">
                  <a:lumMod val="50000"/>
                </a:schemeClr>
              </a:solidFill>
              <a:ea typeface="楷体_GB2312"/>
              <a:cs typeface="楷体_GB2312"/>
            </a:endParaRPr>
          </a:p>
          <a:p>
            <a:pPr marL="129774" indent="-123820" defTabSz="342887">
              <a:lnSpc>
                <a:spcPct val="125000"/>
              </a:lnSpc>
              <a:spcAft>
                <a:spcPts val="0"/>
              </a:spcAft>
              <a:buFont typeface="Arial"/>
              <a:buChar char="•"/>
              <a:defRPr/>
            </a:pPr>
            <a:r>
              <a:rPr lang="zh-CN" altLang="en-US" sz="1620" dirty="0">
                <a:solidFill>
                  <a:schemeClr val="tx1">
                    <a:lumMod val="50000"/>
                  </a:schemeClr>
                </a:solidFill>
                <a:ea typeface="楷体_GB2312"/>
                <a:cs typeface="楷体_GB2312"/>
              </a:rPr>
              <a:t>利用叙词表还可以从主题概念的角度扩展或缩小检索范围。</a:t>
            </a:r>
          </a:p>
          <a:p>
            <a:pPr marL="129774" indent="-123820" defTabSz="342887">
              <a:spcAft>
                <a:spcPts val="0"/>
              </a:spcAft>
              <a:buFont typeface="Arial"/>
              <a:buChar char="•"/>
              <a:defRPr/>
            </a:pPr>
            <a:endParaRPr lang="en-US" altLang="en-US" sz="1620" dirty="0">
              <a:solidFill>
                <a:schemeClr val="tx1">
                  <a:lumMod val="50000"/>
                </a:schemeClr>
              </a:solidFill>
            </a:endParaRPr>
          </a:p>
        </p:txBody>
      </p:sp>
      <p:sp>
        <p:nvSpPr>
          <p:cNvPr id="16388" name="Slide Number Placeholder 3">
            <a:extLst>
              <a:ext uri="{FF2B5EF4-FFF2-40B4-BE49-F238E27FC236}">
                <a16:creationId xmlns:a16="http://schemas.microsoft.com/office/drawing/2014/main" id="{D54AE2CE-28FC-4EE5-9C8F-3580F806F9EB}"/>
              </a:ext>
            </a:extLst>
          </p:cNvPr>
          <p:cNvSpPr>
            <a:spLocks noGrp="1"/>
          </p:cNvSpPr>
          <p:nvPr>
            <p:ph type="sldNum" sz="quarter" idx="10"/>
          </p:nvPr>
        </p:nvSpPr>
        <p:spPr>
          <a:xfrm>
            <a:off x="1179038" y="4058181"/>
            <a:ext cx="431982" cy="24574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SzPct val="70000"/>
              <a:buChar char="•"/>
              <a:defRPr sz="2400">
                <a:solidFill>
                  <a:schemeClr val="bg2"/>
                </a:solidFill>
                <a:latin typeface="CG Omega" pitchFamily="34" charset="0"/>
              </a:defRPr>
            </a:lvl1pPr>
            <a:lvl2pPr marL="557190" indent="-214304" eaLnBrk="0" hangingPunct="0">
              <a:spcBef>
                <a:spcPct val="20000"/>
              </a:spcBef>
              <a:buClr>
                <a:srgbClr val="000066"/>
              </a:buClr>
              <a:buSzPct val="70000"/>
              <a:buChar char="–"/>
              <a:defRPr sz="2100">
                <a:solidFill>
                  <a:schemeClr val="bg2"/>
                </a:solidFill>
                <a:latin typeface="CG Omega" pitchFamily="34" charset="0"/>
              </a:defRPr>
            </a:lvl2pPr>
            <a:lvl3pPr marL="857216" indent="-171443" eaLnBrk="0" hangingPunct="0">
              <a:spcBef>
                <a:spcPct val="20000"/>
              </a:spcBef>
              <a:buClr>
                <a:srgbClr val="000066"/>
              </a:buClr>
              <a:buSzPct val="70000"/>
              <a:buChar char="•"/>
              <a:defRPr sz="1800">
                <a:solidFill>
                  <a:schemeClr val="bg2"/>
                </a:solidFill>
                <a:latin typeface="CG Omega" pitchFamily="34" charset="0"/>
              </a:defRPr>
            </a:lvl3pPr>
            <a:lvl4pPr marL="1200102" indent="-171443" eaLnBrk="0" hangingPunct="0">
              <a:spcBef>
                <a:spcPct val="20000"/>
              </a:spcBef>
              <a:buClr>
                <a:srgbClr val="000066"/>
              </a:buClr>
              <a:buSzPct val="70000"/>
              <a:buChar char="–"/>
              <a:defRPr sz="1500">
                <a:solidFill>
                  <a:schemeClr val="bg2"/>
                </a:solidFill>
                <a:latin typeface="CG Omega" pitchFamily="34" charset="0"/>
              </a:defRPr>
            </a:lvl4pPr>
            <a:lvl5pPr marL="1542988" indent="-171443" eaLnBrk="0" hangingPunct="0">
              <a:spcBef>
                <a:spcPct val="20000"/>
              </a:spcBef>
              <a:buClr>
                <a:srgbClr val="000066"/>
              </a:buClr>
              <a:buSzPct val="70000"/>
              <a:buChar char="»"/>
              <a:defRPr sz="1500">
                <a:solidFill>
                  <a:schemeClr val="bg2"/>
                </a:solidFill>
                <a:latin typeface="CG Omega" pitchFamily="34" charset="0"/>
              </a:defRPr>
            </a:lvl5pPr>
            <a:lvl6pPr marL="1885874"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6pPr>
            <a:lvl7pPr marL="2228761"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7pPr>
            <a:lvl8pPr marL="2571647"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8pPr>
            <a:lvl9pPr marL="2914533"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9pPr>
          </a:lstStyle>
          <a:p>
            <a:pPr>
              <a:spcBef>
                <a:spcPct val="0"/>
              </a:spcBef>
              <a:buClrTx/>
              <a:buSzTx/>
              <a:buFontTx/>
              <a:buNone/>
              <a:defRPr/>
            </a:pPr>
            <a:fld id="{40A0CCD9-A8BC-4C0E-A99B-B80CECE6ACD3}" type="slidenum">
              <a:rPr lang="en-US" altLang="zh-CN" sz="750"/>
              <a:pPr>
                <a:spcBef>
                  <a:spcPct val="0"/>
                </a:spcBef>
                <a:buClrTx/>
                <a:buSzTx/>
                <a:buFontTx/>
                <a:buNone/>
                <a:defRPr/>
              </a:pPr>
              <a:t>46</a:t>
            </a:fld>
            <a:endParaRPr lang="en-US" altLang="zh-CN" sz="750"/>
          </a:p>
        </p:txBody>
      </p:sp>
      <p:sp>
        <p:nvSpPr>
          <p:cNvPr id="5" name="Rectangle 3">
            <a:extLst>
              <a:ext uri="{FF2B5EF4-FFF2-40B4-BE49-F238E27FC236}">
                <a16:creationId xmlns:a16="http://schemas.microsoft.com/office/drawing/2014/main" id="{E1A2AA42-7CA6-4250-907B-022FFDC22FE2}"/>
              </a:ext>
            </a:extLst>
          </p:cNvPr>
          <p:cNvSpPr txBox="1">
            <a:spLocks noChangeArrowheads="1"/>
          </p:cNvSpPr>
          <p:nvPr/>
        </p:nvSpPr>
        <p:spPr>
          <a:xfrm>
            <a:off x="535611" y="2197634"/>
            <a:ext cx="4803647" cy="2252025"/>
          </a:xfrm>
          <a:prstGeom prst="rect">
            <a:avLst/>
          </a:prstGeom>
        </p:spPr>
        <p:style>
          <a:lnRef idx="2">
            <a:schemeClr val="accent2"/>
          </a:lnRef>
          <a:fillRef idx="1">
            <a:schemeClr val="lt1"/>
          </a:fillRef>
          <a:effectRef idx="0">
            <a:schemeClr val="accent2"/>
          </a:effectRef>
          <a:fontRef idx="minor">
            <a:schemeClr val="dk1"/>
          </a:fontRef>
        </p:style>
        <p:txBody>
          <a:bodyPr/>
          <a:lstStyle>
            <a:lvl1pPr marL="144193" indent="-137578" algn="l" defTabSz="380985" rtl="0" eaLnBrk="1" latinLnBrk="0" hangingPunct="1">
              <a:spcBef>
                <a:spcPct val="20000"/>
              </a:spcBef>
              <a:buFont typeface="Arial"/>
              <a:buChar char="•"/>
              <a:tabLst/>
              <a:defRPr sz="1667" kern="1200">
                <a:solidFill>
                  <a:schemeClr val="dk1"/>
                </a:solidFill>
                <a:latin typeface="+mn-lt"/>
                <a:ea typeface="+mn-ea"/>
                <a:cs typeface="+mn-cs"/>
              </a:defRPr>
            </a:lvl1pPr>
            <a:lvl2pPr marL="480200" indent="-191816" algn="l" defTabSz="380985" rtl="0" eaLnBrk="1" latinLnBrk="0" hangingPunct="1">
              <a:spcBef>
                <a:spcPct val="20000"/>
              </a:spcBef>
              <a:buSzPct val="80000"/>
              <a:buFont typeface="ArialMT" charset="0"/>
              <a:buChar char="–"/>
              <a:tabLst/>
              <a:defRPr sz="1500" kern="1200">
                <a:solidFill>
                  <a:schemeClr val="dk1"/>
                </a:solidFill>
                <a:latin typeface="+mn-lt"/>
                <a:ea typeface="+mn-ea"/>
                <a:cs typeface="+mn-cs"/>
              </a:defRPr>
            </a:lvl2pPr>
            <a:lvl3pPr marL="952462" indent="-190492" algn="l" defTabSz="380985" rtl="0" eaLnBrk="1" latinLnBrk="0" hangingPunct="1">
              <a:spcBef>
                <a:spcPct val="20000"/>
              </a:spcBef>
              <a:buSzPct val="90000"/>
              <a:buFont typeface="Courier New" pitchFamily="49" charset="0"/>
              <a:buChar char="o"/>
              <a:defRPr sz="1333" kern="1200">
                <a:solidFill>
                  <a:schemeClr val="dk1"/>
                </a:solidFill>
                <a:latin typeface="+mn-lt"/>
                <a:ea typeface="+mn-ea"/>
                <a:cs typeface="+mn-cs"/>
              </a:defRPr>
            </a:lvl3pPr>
            <a:lvl4pPr marL="1333447"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4pPr>
            <a:lvl5pPr marL="1714431"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5pPr>
            <a:lvl6pPr marL="2095416"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6pPr>
            <a:lvl7pPr marL="2476401"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7pPr>
            <a:lvl8pPr marL="2857386"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8pPr>
            <a:lvl9pPr marL="3238370"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9pPr>
          </a:lstStyle>
          <a:p>
            <a:pPr lvl="1">
              <a:defRPr/>
            </a:pPr>
            <a:endParaRPr lang="en-US" altLang="zh-CN" sz="1440" b="1" dirty="0">
              <a:solidFill>
                <a:schemeClr val="tx1">
                  <a:lumMod val="50000"/>
                </a:schemeClr>
              </a:solidFill>
              <a:ea typeface="宋体" pitchFamily="2" charset="-122"/>
            </a:endParaRPr>
          </a:p>
          <a:p>
            <a:pPr lvl="1">
              <a:buFont typeface="Arial" panose="020B0604020202020204" pitchFamily="34" charset="0"/>
              <a:buChar char="•"/>
              <a:defRPr/>
            </a:pPr>
            <a:r>
              <a:rPr lang="zh-CN" altLang="en-US" sz="1440" b="1" dirty="0">
                <a:solidFill>
                  <a:schemeClr val="tx1">
                    <a:lumMod val="50000"/>
                  </a:schemeClr>
                </a:solidFill>
                <a:ea typeface="宋体" pitchFamily="2" charset="-122"/>
              </a:rPr>
              <a:t>控制词汇</a:t>
            </a:r>
            <a:endParaRPr lang="en-US" altLang="zh-CN" sz="1440" b="1"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不使用其他的术语</a:t>
            </a:r>
            <a:endParaRPr lang="en-US" altLang="zh-CN" sz="1440" dirty="0">
              <a:solidFill>
                <a:schemeClr val="tx1">
                  <a:lumMod val="50000"/>
                </a:schemeClr>
              </a:solidFill>
              <a:ea typeface="宋体" pitchFamily="2" charset="-122"/>
            </a:endParaRPr>
          </a:p>
          <a:p>
            <a:pPr lvl="1">
              <a:buFont typeface="Arial" panose="020B0604020202020204" pitchFamily="34" charset="0"/>
              <a:buChar char="•"/>
              <a:defRPr/>
            </a:pPr>
            <a:r>
              <a:rPr lang="zh-CN" altLang="en-US" sz="1440" b="1" dirty="0">
                <a:solidFill>
                  <a:schemeClr val="tx1">
                    <a:lumMod val="50000"/>
                  </a:schemeClr>
                </a:solidFill>
                <a:ea typeface="宋体" pitchFamily="2" charset="-122"/>
              </a:rPr>
              <a:t>每年更新</a:t>
            </a:r>
            <a:endParaRPr lang="en-US" altLang="zh-CN" sz="1440" b="1"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词汇工作组和索引工作人员决定变化</a:t>
            </a:r>
            <a:endParaRPr lang="en-US" altLang="zh-CN" sz="1440"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叙词表新版本</a:t>
            </a:r>
            <a:endParaRPr lang="en-US" altLang="zh-CN" sz="1440" dirty="0">
              <a:solidFill>
                <a:schemeClr val="tx1">
                  <a:lumMod val="50000"/>
                </a:schemeClr>
              </a:solidFill>
              <a:ea typeface="宋体" pitchFamily="2" charset="-122"/>
            </a:endParaRPr>
          </a:p>
          <a:p>
            <a:pPr lvl="1">
              <a:buFont typeface="Arial" panose="020B0604020202020204" pitchFamily="34" charset="0"/>
              <a:buChar char="•"/>
              <a:defRPr/>
            </a:pPr>
            <a:r>
              <a:rPr lang="zh-CN" altLang="en-US" sz="1440" b="1" dirty="0">
                <a:solidFill>
                  <a:schemeClr val="tx1">
                    <a:lumMod val="50000"/>
                  </a:schemeClr>
                </a:solidFill>
                <a:ea typeface="宋体" pitchFamily="2" charset="-122"/>
              </a:rPr>
              <a:t>具体范围标记</a:t>
            </a:r>
            <a:endParaRPr lang="en-US" altLang="zh-CN" sz="1440" b="1"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受控词的信息</a:t>
            </a:r>
            <a:endParaRPr lang="en-US" altLang="zh-CN" sz="1440" dirty="0">
              <a:solidFill>
                <a:schemeClr val="tx1">
                  <a:lumMod val="50000"/>
                </a:schemeClr>
              </a:solidFill>
              <a:ea typeface="宋体" pitchFamily="2" charset="-122"/>
            </a:endParaRPr>
          </a:p>
          <a:p>
            <a:pPr>
              <a:defRPr/>
            </a:pPr>
            <a:endParaRPr lang="en-US" altLang="zh-CN" sz="1440" b="1" dirty="0">
              <a:solidFill>
                <a:schemeClr val="tx1">
                  <a:lumMod val="50000"/>
                </a:schemeClr>
              </a:solidFill>
              <a:ea typeface="宋体" pitchFamily="2" charset="-122"/>
            </a:endParaRPr>
          </a:p>
        </p:txBody>
      </p:sp>
      <p:sp>
        <p:nvSpPr>
          <p:cNvPr id="6" name="Rectangle 3">
            <a:extLst>
              <a:ext uri="{FF2B5EF4-FFF2-40B4-BE49-F238E27FC236}">
                <a16:creationId xmlns:a16="http://schemas.microsoft.com/office/drawing/2014/main" id="{12D8ABCF-853E-4129-A799-7043E82D55AA}"/>
              </a:ext>
            </a:extLst>
          </p:cNvPr>
          <p:cNvSpPr txBox="1">
            <a:spLocks noChangeArrowheads="1"/>
          </p:cNvSpPr>
          <p:nvPr/>
        </p:nvSpPr>
        <p:spPr>
          <a:xfrm>
            <a:off x="4572001" y="2197634"/>
            <a:ext cx="3972644" cy="2252025"/>
          </a:xfrm>
          <a:prstGeom prst="rect">
            <a:avLst/>
          </a:prstGeom>
        </p:spPr>
        <p:style>
          <a:lnRef idx="2">
            <a:schemeClr val="accent2"/>
          </a:lnRef>
          <a:fillRef idx="1">
            <a:schemeClr val="lt1"/>
          </a:fillRef>
          <a:effectRef idx="0">
            <a:schemeClr val="accent2"/>
          </a:effectRef>
          <a:fontRef idx="minor">
            <a:schemeClr val="dk1"/>
          </a:fontRef>
        </p:style>
        <p:txBody>
          <a:bodyPr/>
          <a:lstStyle>
            <a:lvl1pPr marL="144193" indent="-137578" algn="l" defTabSz="380985" rtl="0" eaLnBrk="1" latinLnBrk="0" hangingPunct="1">
              <a:spcBef>
                <a:spcPct val="20000"/>
              </a:spcBef>
              <a:buFont typeface="Arial"/>
              <a:buChar char="•"/>
              <a:tabLst/>
              <a:defRPr sz="1667" kern="1200">
                <a:solidFill>
                  <a:srgbClr val="53565A"/>
                </a:solidFill>
                <a:latin typeface="Arial"/>
                <a:ea typeface="+mn-ea"/>
                <a:cs typeface="Arial"/>
              </a:defRPr>
            </a:lvl1pPr>
            <a:lvl2pPr marL="480200" indent="-191816" algn="l" defTabSz="380985" rtl="0" eaLnBrk="1" latinLnBrk="0" hangingPunct="1">
              <a:spcBef>
                <a:spcPct val="20000"/>
              </a:spcBef>
              <a:buSzPct val="80000"/>
              <a:buFont typeface="ArialMT" charset="0"/>
              <a:buChar char="–"/>
              <a:tabLst/>
              <a:defRPr sz="1500" kern="1200">
                <a:solidFill>
                  <a:srgbClr val="53565A"/>
                </a:solidFill>
                <a:latin typeface="Arial"/>
                <a:ea typeface="+mn-ea"/>
                <a:cs typeface="+mn-cs"/>
              </a:defRPr>
            </a:lvl2pPr>
            <a:lvl3pPr marL="952462" indent="-190492" algn="l" defTabSz="380985" rtl="0" eaLnBrk="1" latinLnBrk="0" hangingPunct="1">
              <a:spcBef>
                <a:spcPct val="20000"/>
              </a:spcBef>
              <a:buSzPct val="90000"/>
              <a:buFont typeface="Courier New" pitchFamily="49" charset="0"/>
              <a:buChar char="o"/>
              <a:defRPr sz="1333" kern="1200">
                <a:solidFill>
                  <a:srgbClr val="53565A"/>
                </a:solidFill>
                <a:latin typeface="Arial"/>
                <a:ea typeface="+mn-ea"/>
                <a:cs typeface="+mn-cs"/>
              </a:defRPr>
            </a:lvl3pPr>
            <a:lvl4pPr marL="1333447"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4pPr>
            <a:lvl5pPr marL="171443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5pPr>
            <a:lvl6pPr marL="209541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6pPr>
            <a:lvl7pPr marL="247640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7pPr>
            <a:lvl8pPr marL="285738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8pPr>
            <a:lvl9pPr marL="3238370"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9pPr>
          </a:lstStyle>
          <a:p>
            <a:pPr>
              <a:defRPr/>
            </a:pPr>
            <a:endParaRPr lang="en-US" altLang="zh-CN" sz="1440" b="1" dirty="0">
              <a:solidFill>
                <a:schemeClr val="tx1">
                  <a:lumMod val="50000"/>
                </a:schemeClr>
              </a:solidFill>
              <a:latin typeface="Arial" pitchFamily="34" charset="0"/>
              <a:ea typeface="宋体" pitchFamily="2" charset="-122"/>
              <a:cs typeface="+mn-cs"/>
            </a:endParaRPr>
          </a:p>
          <a:p>
            <a:pPr>
              <a:defRPr/>
            </a:pPr>
            <a:r>
              <a:rPr lang="zh-CN" altLang="en-US" sz="1440" b="1" dirty="0">
                <a:solidFill>
                  <a:schemeClr val="tx1">
                    <a:lumMod val="50000"/>
                  </a:schemeClr>
                </a:solidFill>
                <a:latin typeface="Arial" pitchFamily="34" charset="0"/>
                <a:ea typeface="宋体" pitchFamily="2" charset="-122"/>
                <a:cs typeface="+mn-cs"/>
              </a:rPr>
              <a:t>分面层次</a:t>
            </a:r>
            <a:endParaRPr lang="en-US" altLang="zh-CN" sz="1440" b="1" dirty="0">
              <a:solidFill>
                <a:schemeClr val="tx1">
                  <a:lumMod val="50000"/>
                </a:schemeClr>
              </a:solidFill>
              <a:latin typeface="Arial" pitchFamily="34" charset="0"/>
              <a:ea typeface="宋体" pitchFamily="2" charset="-122"/>
              <a:cs typeface="+mn-cs"/>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分面</a:t>
            </a:r>
            <a:r>
              <a:rPr lang="en-US" altLang="zh-CN" sz="1440" dirty="0">
                <a:solidFill>
                  <a:schemeClr val="tx1">
                    <a:lumMod val="50000"/>
                  </a:schemeClr>
                </a:solidFill>
                <a:latin typeface="Arial" pitchFamily="34" charset="0"/>
                <a:ea typeface="宋体" pitchFamily="2" charset="-122"/>
              </a:rPr>
              <a:t>: </a:t>
            </a:r>
            <a:r>
              <a:rPr lang="zh-CN" altLang="en-US" sz="1440" dirty="0">
                <a:solidFill>
                  <a:schemeClr val="tx1">
                    <a:lumMod val="50000"/>
                  </a:schemeClr>
                </a:solidFill>
                <a:latin typeface="Arial" pitchFamily="34" charset="0"/>
                <a:ea typeface="宋体" pitchFamily="2" charset="-122"/>
              </a:rPr>
              <a:t>按类别分组</a:t>
            </a:r>
            <a:endParaRPr lang="en-US" altLang="zh-CN" sz="1440" dirty="0">
              <a:solidFill>
                <a:schemeClr val="tx1">
                  <a:lumMod val="50000"/>
                </a:schemeClr>
              </a:solidFill>
              <a:latin typeface="Arial" pitchFamily="34" charset="0"/>
              <a:ea typeface="宋体" pitchFamily="2" charset="-122"/>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层次</a:t>
            </a:r>
            <a:r>
              <a:rPr lang="en-US" altLang="zh-CN" sz="1440" dirty="0">
                <a:solidFill>
                  <a:schemeClr val="tx1">
                    <a:lumMod val="50000"/>
                  </a:schemeClr>
                </a:solidFill>
                <a:latin typeface="Arial" pitchFamily="34" charset="0"/>
                <a:ea typeface="宋体" pitchFamily="2" charset="-122"/>
              </a:rPr>
              <a:t>: </a:t>
            </a:r>
            <a:r>
              <a:rPr lang="zh-CN" altLang="en-US" sz="1440" dirty="0">
                <a:solidFill>
                  <a:schemeClr val="tx1">
                    <a:lumMod val="50000"/>
                  </a:schemeClr>
                </a:solidFill>
                <a:latin typeface="Arial" pitchFamily="34" charset="0"/>
                <a:ea typeface="宋体" pitchFamily="2" charset="-122"/>
              </a:rPr>
              <a:t>上位类</a:t>
            </a:r>
            <a:r>
              <a:rPr lang="en-US" altLang="zh-CN" sz="1440" dirty="0">
                <a:solidFill>
                  <a:schemeClr val="tx1">
                    <a:lumMod val="50000"/>
                  </a:schemeClr>
                </a:solidFill>
                <a:latin typeface="Arial" pitchFamily="34" charset="0"/>
                <a:ea typeface="宋体" pitchFamily="2" charset="-122"/>
              </a:rPr>
              <a:t>/</a:t>
            </a:r>
            <a:r>
              <a:rPr lang="zh-CN" altLang="en-US" sz="1440" dirty="0">
                <a:solidFill>
                  <a:schemeClr val="tx1">
                    <a:lumMod val="50000"/>
                  </a:schemeClr>
                </a:solidFill>
                <a:latin typeface="Arial" pitchFamily="34" charset="0"/>
                <a:ea typeface="宋体" pitchFamily="2" charset="-122"/>
              </a:rPr>
              <a:t>下位类</a:t>
            </a:r>
            <a:r>
              <a:rPr lang="en-US" altLang="zh-CN" sz="1440" dirty="0">
                <a:solidFill>
                  <a:schemeClr val="tx1">
                    <a:lumMod val="50000"/>
                  </a:schemeClr>
                </a:solidFill>
                <a:latin typeface="Arial" pitchFamily="34" charset="0"/>
                <a:ea typeface="宋体" pitchFamily="2" charset="-122"/>
              </a:rPr>
              <a:t> </a:t>
            </a:r>
          </a:p>
          <a:p>
            <a:pPr>
              <a:defRPr/>
            </a:pPr>
            <a:r>
              <a:rPr lang="zh-CN" altLang="en-US" sz="1440" b="1" dirty="0">
                <a:solidFill>
                  <a:schemeClr val="tx1">
                    <a:lumMod val="50000"/>
                  </a:schemeClr>
                </a:solidFill>
                <a:latin typeface="Arial" pitchFamily="34" charset="0"/>
                <a:ea typeface="宋体" pitchFamily="2" charset="-122"/>
                <a:cs typeface="+mn-cs"/>
              </a:rPr>
              <a:t>自动显示的款目</a:t>
            </a:r>
            <a:endParaRPr lang="en-US" altLang="zh-CN" sz="1440" b="1" dirty="0">
              <a:solidFill>
                <a:schemeClr val="tx1">
                  <a:lumMod val="50000"/>
                </a:schemeClr>
              </a:solidFill>
              <a:latin typeface="Arial" pitchFamily="34" charset="0"/>
              <a:ea typeface="宋体" pitchFamily="2" charset="-122"/>
              <a:cs typeface="+mn-cs"/>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有信心检索专属性的任一层次</a:t>
            </a:r>
            <a:endParaRPr lang="en-US" altLang="zh-CN" sz="1440" dirty="0">
              <a:solidFill>
                <a:schemeClr val="tx1">
                  <a:lumMod val="50000"/>
                </a:schemeClr>
              </a:solidFill>
              <a:latin typeface="Arial" pitchFamily="34" charset="0"/>
              <a:ea typeface="宋体" pitchFamily="2" charset="-122"/>
            </a:endParaRPr>
          </a:p>
          <a:p>
            <a:pPr>
              <a:defRPr/>
            </a:pPr>
            <a:r>
              <a:rPr lang="zh-CN" altLang="en-US" sz="1440" b="1" dirty="0">
                <a:solidFill>
                  <a:schemeClr val="tx1">
                    <a:lumMod val="50000"/>
                  </a:schemeClr>
                </a:solidFill>
                <a:latin typeface="Arial" pitchFamily="34" charset="0"/>
                <a:ea typeface="宋体" pitchFamily="2" charset="-122"/>
                <a:cs typeface="+mn-cs"/>
              </a:rPr>
              <a:t>相互参照</a:t>
            </a:r>
            <a:endParaRPr lang="en-US" altLang="zh-CN" sz="1440" b="1" dirty="0">
              <a:solidFill>
                <a:schemeClr val="tx1">
                  <a:lumMod val="50000"/>
                </a:schemeClr>
              </a:solidFill>
              <a:latin typeface="Arial" pitchFamily="34" charset="0"/>
              <a:ea typeface="宋体" pitchFamily="2" charset="-122"/>
              <a:cs typeface="+mn-cs"/>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引导用户使用有效款目</a:t>
            </a:r>
            <a:endParaRPr lang="en-US" altLang="zh-CN" sz="1440" dirty="0">
              <a:solidFill>
                <a:schemeClr val="tx1">
                  <a:lumMod val="50000"/>
                </a:schemeClr>
              </a:solidFill>
              <a:latin typeface="Arial" pitchFamily="34" charset="0"/>
              <a:ea typeface="宋体" pitchFamily="2" charset="-122"/>
            </a:endParaRPr>
          </a:p>
          <a:p>
            <a:pPr>
              <a:defRPr/>
            </a:pPr>
            <a:endParaRPr lang="en-US" altLang="zh-CN" sz="1440" b="1" dirty="0">
              <a:solidFill>
                <a:srgbClr val="000066"/>
              </a:solidFill>
              <a:ea typeface="宋体" pitchFamily="2" charset="-122"/>
            </a:endParaRPr>
          </a:p>
        </p:txBody>
      </p:sp>
    </p:spTree>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標題 1">
            <a:extLst>
              <a:ext uri="{FF2B5EF4-FFF2-40B4-BE49-F238E27FC236}">
                <a16:creationId xmlns:a16="http://schemas.microsoft.com/office/drawing/2014/main" id="{0B3CC3FE-DFA6-4D06-BEA9-1DDF2D133B9A}"/>
              </a:ext>
            </a:extLst>
          </p:cNvPr>
          <p:cNvSpPr>
            <a:spLocks noGrp="1"/>
          </p:cNvSpPr>
          <p:nvPr>
            <p:ph type="title"/>
          </p:nvPr>
        </p:nvSpPr>
        <p:spPr>
          <a:xfrm>
            <a:off x="1375887" y="345758"/>
            <a:ext cx="6625113" cy="434340"/>
          </a:xfrm>
        </p:spPr>
        <p:txBody>
          <a:bodyPr rtlCol="0">
            <a:noAutofit/>
          </a:bodyPr>
          <a:lstStyle/>
          <a:p>
            <a:pPr defTabSz="342887">
              <a:defRPr/>
            </a:pPr>
            <a:r>
              <a:rPr lang="en-US" altLang="zh-TW" sz="2400" dirty="0">
                <a:solidFill>
                  <a:srgbClr val="003C8B"/>
                </a:solidFill>
                <a:latin typeface="Calibri" pitchFamily="34" charset="0"/>
                <a:ea typeface="PMingLiU-ExtB" pitchFamily="18" charset="-120"/>
              </a:rPr>
              <a:t>THESAURUS</a:t>
            </a:r>
            <a:r>
              <a:rPr lang="zh-TW" altLang="en-US" sz="2400" dirty="0">
                <a:solidFill>
                  <a:srgbClr val="003C8B"/>
                </a:solidFill>
                <a:latin typeface="Calibri" pitchFamily="34" charset="0"/>
                <a:ea typeface="PMingLiU-ExtB" pitchFamily="18" charset="-120"/>
              </a:rPr>
              <a:t>词库</a:t>
            </a:r>
            <a:r>
              <a:rPr lang="en-US" altLang="zh-TW" sz="2400" dirty="0">
                <a:solidFill>
                  <a:srgbClr val="003C8B"/>
                </a:solidFill>
                <a:latin typeface="Calibri" pitchFamily="34" charset="0"/>
                <a:ea typeface="PMingLiU-ExtB" pitchFamily="18" charset="-120"/>
              </a:rPr>
              <a:t>-Beverages</a:t>
            </a:r>
            <a:r>
              <a:rPr lang="zh-CN" altLang="en-US" sz="2400" dirty="0">
                <a:solidFill>
                  <a:srgbClr val="003C8B"/>
                </a:solidFill>
                <a:latin typeface="Calibri" pitchFamily="34" charset="0"/>
                <a:ea typeface="PMingLiU-ExtB" pitchFamily="18" charset="-120"/>
              </a:rPr>
              <a:t>（饮料）</a:t>
            </a:r>
            <a:endParaRPr lang="zh-TW" altLang="en-US" sz="2400" dirty="0">
              <a:solidFill>
                <a:srgbClr val="003C8B"/>
              </a:solidFill>
              <a:latin typeface="Calibri" pitchFamily="34" charset="0"/>
              <a:ea typeface="PMingLiU-ExtB" pitchFamily="18" charset="-120"/>
            </a:endParaRPr>
          </a:p>
        </p:txBody>
      </p:sp>
      <p:sp>
        <p:nvSpPr>
          <p:cNvPr id="6" name="圓角矩形 5">
            <a:extLst>
              <a:ext uri="{FF2B5EF4-FFF2-40B4-BE49-F238E27FC236}">
                <a16:creationId xmlns:a16="http://schemas.microsoft.com/office/drawing/2014/main" id="{8297B570-087E-4E11-A2F9-B23972C310A7}"/>
              </a:ext>
            </a:extLst>
          </p:cNvPr>
          <p:cNvSpPr/>
          <p:nvPr/>
        </p:nvSpPr>
        <p:spPr>
          <a:xfrm>
            <a:off x="1304449" y="3536241"/>
            <a:ext cx="964406" cy="802958"/>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320954">
              <a:spcBef>
                <a:spcPct val="50000"/>
              </a:spcBef>
              <a:buFont typeface="Times" pitchFamily="18" charset="0"/>
              <a:buChar char="•"/>
              <a:defRPr/>
            </a:pPr>
            <a:r>
              <a:rPr lang="en-US" altLang="zh-CN" sz="1053">
                <a:solidFill>
                  <a:srgbClr val="000000"/>
                </a:solidFill>
                <a:latin typeface="Calibri" pitchFamily="34" charset="0"/>
                <a:ea typeface="PMingLiU-ExtB" pitchFamily="18" charset="-120"/>
              </a:rPr>
              <a:t>Narrow Term</a:t>
            </a:r>
            <a:br>
              <a:rPr lang="en-US" altLang="zh-CN" sz="1053">
                <a:solidFill>
                  <a:srgbClr val="000000"/>
                </a:solidFill>
                <a:latin typeface="Calibri" pitchFamily="34" charset="0"/>
                <a:ea typeface="PMingLiU-ExtB" pitchFamily="18" charset="-120"/>
              </a:rPr>
            </a:br>
            <a:r>
              <a:rPr lang="zh-CN" altLang="en-US" sz="1053">
                <a:solidFill>
                  <a:srgbClr val="000000"/>
                </a:solidFill>
                <a:latin typeface="Calibri" pitchFamily="34" charset="0"/>
                <a:ea typeface="PMingLiU-ExtB" pitchFamily="18" charset="-120"/>
              </a:rPr>
              <a:t>狭义词</a:t>
            </a:r>
          </a:p>
        </p:txBody>
      </p:sp>
      <p:sp>
        <p:nvSpPr>
          <p:cNvPr id="7" name="圓角矩形 6">
            <a:extLst>
              <a:ext uri="{FF2B5EF4-FFF2-40B4-BE49-F238E27FC236}">
                <a16:creationId xmlns:a16="http://schemas.microsoft.com/office/drawing/2014/main" id="{C3D7EB37-75D5-4F87-9E76-EC7C1528FF78}"/>
              </a:ext>
            </a:extLst>
          </p:cNvPr>
          <p:cNvSpPr/>
          <p:nvPr/>
        </p:nvSpPr>
        <p:spPr>
          <a:xfrm>
            <a:off x="1304449" y="2250366"/>
            <a:ext cx="964406" cy="85725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320954">
              <a:spcBef>
                <a:spcPct val="50000"/>
              </a:spcBef>
              <a:buFont typeface="Times" pitchFamily="18" charset="0"/>
              <a:buChar char="•"/>
              <a:defRPr/>
            </a:pPr>
            <a:r>
              <a:rPr lang="en-US" altLang="zh-CN" sz="1053">
                <a:solidFill>
                  <a:srgbClr val="000000"/>
                </a:solidFill>
                <a:latin typeface="Calibri" pitchFamily="34" charset="0"/>
                <a:ea typeface="PMingLiU-ExtB" pitchFamily="18" charset="-120"/>
              </a:rPr>
              <a:t>Related Term</a:t>
            </a:r>
            <a:br>
              <a:rPr lang="en-US" altLang="zh-CN" sz="1053">
                <a:solidFill>
                  <a:srgbClr val="000000"/>
                </a:solidFill>
                <a:latin typeface="Calibri" pitchFamily="34" charset="0"/>
                <a:ea typeface="PMingLiU-ExtB" pitchFamily="18" charset="-120"/>
              </a:rPr>
            </a:br>
            <a:r>
              <a:rPr lang="zh-CN" altLang="en-US" sz="1053">
                <a:solidFill>
                  <a:srgbClr val="000000"/>
                </a:solidFill>
                <a:latin typeface="Calibri" pitchFamily="34" charset="0"/>
                <a:ea typeface="PMingLiU-ExtB" pitchFamily="18" charset="-120"/>
              </a:rPr>
              <a:t>相关词</a:t>
            </a:r>
          </a:p>
        </p:txBody>
      </p:sp>
      <p:sp>
        <p:nvSpPr>
          <p:cNvPr id="8" name="圓角矩形 7">
            <a:extLst>
              <a:ext uri="{FF2B5EF4-FFF2-40B4-BE49-F238E27FC236}">
                <a16:creationId xmlns:a16="http://schemas.microsoft.com/office/drawing/2014/main" id="{B0A52356-EBE1-4C74-9BFC-3EEF203DBD25}"/>
              </a:ext>
            </a:extLst>
          </p:cNvPr>
          <p:cNvSpPr/>
          <p:nvPr/>
        </p:nvSpPr>
        <p:spPr>
          <a:xfrm>
            <a:off x="1304449" y="1115939"/>
            <a:ext cx="964406" cy="85725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320954">
              <a:spcBef>
                <a:spcPct val="50000"/>
              </a:spcBef>
              <a:buFont typeface="Times" pitchFamily="18" charset="0"/>
              <a:buChar char="•"/>
              <a:defRPr/>
            </a:pPr>
            <a:r>
              <a:rPr lang="en-US" altLang="zh-CN" sz="1053" dirty="0">
                <a:solidFill>
                  <a:srgbClr val="000000"/>
                </a:solidFill>
                <a:latin typeface="Calibri" pitchFamily="34" charset="0"/>
                <a:ea typeface="PMingLiU-ExtB" pitchFamily="18" charset="-120"/>
              </a:rPr>
              <a:t>Broader</a:t>
            </a:r>
            <a:br>
              <a:rPr lang="en-US" altLang="zh-CN" sz="1053" dirty="0">
                <a:solidFill>
                  <a:srgbClr val="000000"/>
                </a:solidFill>
                <a:latin typeface="Calibri" pitchFamily="34" charset="0"/>
                <a:ea typeface="PMingLiU-ExtB" pitchFamily="18" charset="-120"/>
              </a:rPr>
            </a:br>
            <a:r>
              <a:rPr lang="en-US" altLang="zh-CN" sz="1053" dirty="0">
                <a:solidFill>
                  <a:srgbClr val="000000"/>
                </a:solidFill>
                <a:latin typeface="Calibri" pitchFamily="34" charset="0"/>
                <a:ea typeface="PMingLiU-ExtB" pitchFamily="18" charset="-120"/>
              </a:rPr>
              <a:t>Term</a:t>
            </a:r>
            <a:br>
              <a:rPr lang="en-US" altLang="zh-CN" sz="1053" dirty="0">
                <a:solidFill>
                  <a:srgbClr val="000000"/>
                </a:solidFill>
                <a:latin typeface="Calibri" pitchFamily="34" charset="0"/>
                <a:ea typeface="PMingLiU-ExtB" pitchFamily="18" charset="-120"/>
              </a:rPr>
            </a:br>
            <a:r>
              <a:rPr lang="zh-CN" altLang="en-US" sz="1053" dirty="0">
                <a:solidFill>
                  <a:srgbClr val="000000"/>
                </a:solidFill>
                <a:latin typeface="Calibri" pitchFamily="34" charset="0"/>
                <a:ea typeface="PMingLiU-ExtB" pitchFamily="18" charset="-120"/>
              </a:rPr>
              <a:t>广义词</a:t>
            </a:r>
            <a:endParaRPr lang="zh-TW" altLang="en-US" sz="1053" dirty="0">
              <a:solidFill>
                <a:srgbClr val="000000"/>
              </a:solidFill>
              <a:latin typeface="Calibri" pitchFamily="34" charset="0"/>
              <a:ea typeface="PMingLiU-ExtB" pitchFamily="18" charset="-120"/>
            </a:endParaRPr>
          </a:p>
        </p:txBody>
      </p:sp>
      <p:cxnSp>
        <p:nvCxnSpPr>
          <p:cNvPr id="9" name="直線單箭頭接點 8">
            <a:extLst>
              <a:ext uri="{FF2B5EF4-FFF2-40B4-BE49-F238E27FC236}">
                <a16:creationId xmlns:a16="http://schemas.microsoft.com/office/drawing/2014/main" id="{2DEB5364-0C86-4127-950D-EFCA94770CBD}"/>
              </a:ext>
            </a:extLst>
          </p:cNvPr>
          <p:cNvCxnSpPr/>
          <p:nvPr/>
        </p:nvCxnSpPr>
        <p:spPr>
          <a:xfrm>
            <a:off x="2268855" y="3910574"/>
            <a:ext cx="321469" cy="142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 name="直線單箭頭接點 9">
            <a:extLst>
              <a:ext uri="{FF2B5EF4-FFF2-40B4-BE49-F238E27FC236}">
                <a16:creationId xmlns:a16="http://schemas.microsoft.com/office/drawing/2014/main" id="{45769800-9732-40FE-BEE9-8B046321CAFC}"/>
              </a:ext>
            </a:extLst>
          </p:cNvPr>
          <p:cNvCxnSpPr/>
          <p:nvPr/>
        </p:nvCxnSpPr>
        <p:spPr>
          <a:xfrm>
            <a:off x="2268855" y="2678991"/>
            <a:ext cx="321469"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 name="直線單箭頭接點 10">
            <a:extLst>
              <a:ext uri="{FF2B5EF4-FFF2-40B4-BE49-F238E27FC236}">
                <a16:creationId xmlns:a16="http://schemas.microsoft.com/office/drawing/2014/main" id="{B319CF4A-BC82-4E5E-BBCF-1B6111A397AA}"/>
              </a:ext>
            </a:extLst>
          </p:cNvPr>
          <p:cNvCxnSpPr/>
          <p:nvPr/>
        </p:nvCxnSpPr>
        <p:spPr>
          <a:xfrm>
            <a:off x="2268855" y="1533134"/>
            <a:ext cx="321469" cy="142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2" name="Diagram 1">
            <a:extLst>
              <a:ext uri="{FF2B5EF4-FFF2-40B4-BE49-F238E27FC236}">
                <a16:creationId xmlns:a16="http://schemas.microsoft.com/office/drawing/2014/main" id="{ABE68F9A-8AB5-47CB-A178-4506C88118E7}"/>
              </a:ext>
            </a:extLst>
          </p:cNvPr>
          <p:cNvGraphicFramePr/>
          <p:nvPr>
            <p:extLst>
              <p:ext uri="{D42A27DB-BD31-4B8C-83A1-F6EECF244321}">
                <p14:modId xmlns:p14="http://schemas.microsoft.com/office/powerpoint/2010/main" val="3356185624"/>
              </p:ext>
            </p:extLst>
          </p:nvPr>
        </p:nvGraphicFramePr>
        <p:xfrm>
          <a:off x="2590794" y="1223837"/>
          <a:ext cx="457200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F0B97-7AF8-4296-B5B0-780DEA7A23C6}"/>
              </a:ext>
            </a:extLst>
          </p:cNvPr>
          <p:cNvSpPr>
            <a:spLocks noGrp="1"/>
          </p:cNvSpPr>
          <p:nvPr>
            <p:ph type="title"/>
          </p:nvPr>
        </p:nvSpPr>
        <p:spPr>
          <a:xfrm>
            <a:off x="1375887" y="450057"/>
            <a:ext cx="6625113" cy="345758"/>
          </a:xfrm>
        </p:spPr>
        <p:txBody>
          <a:bodyPr rtlCol="0">
            <a:noAutofit/>
          </a:bodyPr>
          <a:lstStyle/>
          <a:p>
            <a:pPr defTabSz="342887">
              <a:defRPr/>
            </a:pPr>
            <a:r>
              <a:rPr lang="zh-CN" altLang="en-US" sz="1500" dirty="0"/>
              <a:t>实例－用叙词表选词进行主题检索</a:t>
            </a:r>
            <a:endParaRPr lang="en-US" sz="1500" dirty="0"/>
          </a:p>
        </p:txBody>
      </p:sp>
      <p:sp>
        <p:nvSpPr>
          <p:cNvPr id="81923" name="Content Placeholder 2">
            <a:extLst>
              <a:ext uri="{FF2B5EF4-FFF2-40B4-BE49-F238E27FC236}">
                <a16:creationId xmlns:a16="http://schemas.microsoft.com/office/drawing/2014/main" id="{A2C0FE96-B24B-4134-A20C-EB6AABEF611D}"/>
              </a:ext>
            </a:extLst>
          </p:cNvPr>
          <p:cNvSpPr>
            <a:spLocks noGrp="1" noChangeArrowheads="1"/>
          </p:cNvSpPr>
          <p:nvPr>
            <p:ph idx="1"/>
          </p:nvPr>
        </p:nvSpPr>
        <p:spPr/>
        <p:txBody>
          <a:bodyPr/>
          <a:lstStyle/>
          <a:p>
            <a:pPr eaLnBrk="1" hangingPunct="1"/>
            <a:r>
              <a:rPr lang="zh-CN" altLang="en-US">
                <a:latin typeface="Arial" panose="020B0604020202020204" pitchFamily="34" charset="0"/>
                <a:cs typeface="Arial" panose="020B0604020202020204" pitchFamily="34" charset="0"/>
              </a:rPr>
              <a:t>用</a:t>
            </a:r>
            <a:r>
              <a:rPr lang="en-US" altLang="zh-CN">
                <a:latin typeface="Arial" panose="020B0604020202020204" pitchFamily="34" charset="0"/>
                <a:cs typeface="Arial" panose="020B0604020202020204" pitchFamily="34" charset="0"/>
              </a:rPr>
              <a:t>Thesaurus</a:t>
            </a:r>
            <a:r>
              <a:rPr lang="zh-CN" altLang="en-US">
                <a:latin typeface="Arial" panose="020B0604020202020204" pitchFamily="34" charset="0"/>
                <a:cs typeface="Arial" panose="020B0604020202020204" pitchFamily="34" charset="0"/>
              </a:rPr>
              <a:t>方式检索有关气候学中气候变化的温室效应</a:t>
            </a:r>
          </a:p>
          <a:p>
            <a:pPr eaLnBrk="1" hangingPunct="1"/>
            <a:r>
              <a:rPr lang="zh-CN" altLang="en-US">
                <a:latin typeface="Arial" panose="020B0604020202020204" pitchFamily="34" charset="0"/>
                <a:cs typeface="Arial" panose="020B0604020202020204" pitchFamily="34" charset="0"/>
              </a:rPr>
              <a:t>构设计方面的文献。</a:t>
            </a:r>
          </a:p>
          <a:p>
            <a:pPr eaLnBrk="1" hangingPunct="1"/>
            <a:r>
              <a:rPr lang="zh-CN" altLang="en-US">
                <a:latin typeface="Arial" panose="020B0604020202020204" pitchFamily="34" charset="0"/>
                <a:cs typeface="Arial" panose="020B0604020202020204" pitchFamily="34" charset="0"/>
              </a:rPr>
              <a:t>从课题名称中提取概念</a:t>
            </a:r>
          </a:p>
          <a:p>
            <a:pPr lvl="1" eaLnBrk="1" hangingPunct="1"/>
            <a:r>
              <a:rPr lang="zh-CN" altLang="en-US">
                <a:latin typeface="Arial" panose="020B0604020202020204" pitchFamily="34" charset="0"/>
              </a:rPr>
              <a:t>气候学 </a:t>
            </a:r>
            <a:r>
              <a:rPr lang="en-US" altLang="zh-CN">
                <a:latin typeface="Arial" panose="020B0604020202020204" pitchFamily="34" charset="0"/>
              </a:rPr>
              <a:t>Climatology</a:t>
            </a:r>
          </a:p>
          <a:p>
            <a:pPr lvl="1" eaLnBrk="1" hangingPunct="1"/>
            <a:r>
              <a:rPr lang="zh-CN" altLang="en-US">
                <a:latin typeface="Arial" panose="020B0604020202020204" pitchFamily="34" charset="0"/>
              </a:rPr>
              <a:t>气候变化 </a:t>
            </a:r>
            <a:r>
              <a:rPr lang="en-US" altLang="zh-CN">
                <a:latin typeface="Arial" panose="020B0604020202020204" pitchFamily="34" charset="0"/>
              </a:rPr>
              <a:t>Climate Change</a:t>
            </a:r>
          </a:p>
          <a:p>
            <a:pPr lvl="1" eaLnBrk="1" hangingPunct="1"/>
            <a:r>
              <a:rPr lang="zh-CN" altLang="en-US">
                <a:latin typeface="Arial" panose="020B0604020202020204" pitchFamily="34" charset="0"/>
              </a:rPr>
              <a:t>温室效应 </a:t>
            </a:r>
            <a:r>
              <a:rPr lang="en-US" altLang="zh-CN">
                <a:latin typeface="Arial" panose="020B0604020202020204" pitchFamily="34" charset="0"/>
              </a:rPr>
              <a:t>Greenhouse effect</a:t>
            </a:r>
            <a:endParaRPr lang="en-US" altLang="en-US">
              <a:latin typeface="Arial" panose="020B0604020202020204" pitchFamily="34" charset="0"/>
            </a:endParaRPr>
          </a:p>
          <a:p>
            <a:pPr eaLnBrk="1" hangingPunct="1"/>
            <a:r>
              <a:rPr lang="zh-CN" altLang="en-US">
                <a:latin typeface="Arial" panose="020B0604020202020204" pitchFamily="34" charset="0"/>
                <a:cs typeface="Arial" panose="020B0604020202020204" pitchFamily="34" charset="0"/>
              </a:rPr>
              <a:t>专家检索式写法：</a:t>
            </a:r>
          </a:p>
          <a:p>
            <a:pPr eaLnBrk="1" hangingPunct="1"/>
            <a:r>
              <a:rPr lang="en-US" altLang="en-US">
                <a:latin typeface="Arial" panose="020B0604020202020204" pitchFamily="34" charset="0"/>
                <a:cs typeface="Arial" panose="020B0604020202020204" pitchFamily="34" charset="0"/>
              </a:rPr>
              <a:t>((({Climatology} WN CV) AND ({Climate change} WN CV) AND ({Greenhouse effect} WN CV)))</a:t>
            </a:r>
          </a:p>
        </p:txBody>
      </p:sp>
    </p:spTree>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6" name="Picture 2">
            <a:extLst>
              <a:ext uri="{FF2B5EF4-FFF2-40B4-BE49-F238E27FC236}">
                <a16:creationId xmlns:a16="http://schemas.microsoft.com/office/drawing/2014/main" id="{1D619E41-F699-400F-A696-D7D2FE8575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7293" y="1510190"/>
            <a:ext cx="6559392" cy="2624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2947" name="Title 1">
            <a:extLst>
              <a:ext uri="{FF2B5EF4-FFF2-40B4-BE49-F238E27FC236}">
                <a16:creationId xmlns:a16="http://schemas.microsoft.com/office/drawing/2014/main" id="{91CF4488-E44B-4FA5-8F9B-FF4B00173E25}"/>
              </a:ext>
            </a:extLst>
          </p:cNvPr>
          <p:cNvSpPr>
            <a:spLocks noGrp="1" noChangeArrowheads="1"/>
          </p:cNvSpPr>
          <p:nvPr>
            <p:ph type="title"/>
          </p:nvPr>
        </p:nvSpPr>
        <p:spPr>
          <a:xfrm>
            <a:off x="1375887" y="407194"/>
            <a:ext cx="6625113" cy="347186"/>
          </a:xfrm>
        </p:spPr>
        <p:txBody>
          <a:bodyPr/>
          <a:lstStyle/>
          <a:p>
            <a:pPr eaLnBrk="1" hangingPunct="1"/>
            <a:r>
              <a:rPr lang="zh-CN" altLang="en-US" sz="2520">
                <a:latin typeface="Arial Bold" panose="020B0704020202020204" pitchFamily="34" charset="0"/>
                <a:cs typeface="Arial Bold" panose="020B0704020202020204" pitchFamily="34" charset="0"/>
              </a:rPr>
              <a:t>用</a:t>
            </a:r>
            <a:r>
              <a:rPr lang="en-US" altLang="zh-CN" sz="2520">
                <a:latin typeface="Arial Bold" panose="020B0704020202020204" pitchFamily="34" charset="0"/>
                <a:cs typeface="Arial Bold" panose="020B0704020202020204" pitchFamily="34" charset="0"/>
              </a:rPr>
              <a:t>EI</a:t>
            </a:r>
            <a:r>
              <a:rPr lang="zh-CN" altLang="en-US" sz="2520">
                <a:latin typeface="Arial Bold" panose="020B0704020202020204" pitchFamily="34" charset="0"/>
                <a:cs typeface="Arial Bold" panose="020B0704020202020204" pitchFamily="34" charset="0"/>
              </a:rPr>
              <a:t>叙词表选词</a:t>
            </a:r>
            <a:endParaRPr lang="en-US" altLang="en-US" sz="2520">
              <a:latin typeface="Arial Bold" panose="020B0704020202020204" pitchFamily="34" charset="0"/>
              <a:cs typeface="Arial Bold" panose="020B0704020202020204" pitchFamily="34" charset="0"/>
            </a:endParaRPr>
          </a:p>
        </p:txBody>
      </p:sp>
      <p:sp>
        <p:nvSpPr>
          <p:cNvPr id="4" name="Oval Callout 3">
            <a:extLst>
              <a:ext uri="{FF2B5EF4-FFF2-40B4-BE49-F238E27FC236}">
                <a16:creationId xmlns:a16="http://schemas.microsoft.com/office/drawing/2014/main" id="{DEB99FC6-3A76-4EEC-8814-19F7B12374F4}"/>
              </a:ext>
            </a:extLst>
          </p:cNvPr>
          <p:cNvSpPr/>
          <p:nvPr/>
        </p:nvSpPr>
        <p:spPr bwMode="auto">
          <a:xfrm>
            <a:off x="223774" y="658654"/>
            <a:ext cx="6750844" cy="947262"/>
          </a:xfrm>
          <a:prstGeom prst="wedgeEllipseCallout">
            <a:avLst>
              <a:gd name="adj1" fmla="val 136"/>
              <a:gd name="adj2" fmla="val 105028"/>
            </a:avLst>
          </a:prstGeom>
          <a:solidFill>
            <a:schemeClr val="tx2">
              <a:lumMod val="20000"/>
              <a:lumOff val="80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68580" tIns="68580" rIns="68580" bIns="68580"/>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fontAlgn="base">
              <a:spcBef>
                <a:spcPct val="0"/>
              </a:spcBef>
              <a:spcAft>
                <a:spcPct val="0"/>
              </a:spcAft>
              <a:defRPr sz="1400">
                <a:solidFill>
                  <a:schemeClr val="tx1"/>
                </a:solidFill>
                <a:latin typeface="Arial" panose="020B0604020202020204" pitchFamily="34" charset="0"/>
              </a:defRPr>
            </a:lvl6pPr>
            <a:lvl7pPr marL="2971800" indent="-228600" defTabSz="355600" fontAlgn="base">
              <a:spcBef>
                <a:spcPct val="0"/>
              </a:spcBef>
              <a:spcAft>
                <a:spcPct val="0"/>
              </a:spcAft>
              <a:defRPr sz="1400">
                <a:solidFill>
                  <a:schemeClr val="tx1"/>
                </a:solidFill>
                <a:latin typeface="Arial" panose="020B0604020202020204" pitchFamily="34" charset="0"/>
              </a:defRPr>
            </a:lvl7pPr>
            <a:lvl8pPr marL="3429000" indent="-228600" defTabSz="355600" fontAlgn="base">
              <a:spcBef>
                <a:spcPct val="0"/>
              </a:spcBef>
              <a:spcAft>
                <a:spcPct val="0"/>
              </a:spcAft>
              <a:defRPr sz="1400">
                <a:solidFill>
                  <a:schemeClr val="tx1"/>
                </a:solidFill>
                <a:latin typeface="Arial" panose="020B0604020202020204" pitchFamily="34" charset="0"/>
              </a:defRPr>
            </a:lvl8pPr>
            <a:lvl9pPr marL="3886200" indent="-228600" defTabSz="355600" fontAlgn="base">
              <a:spcBef>
                <a:spcPct val="0"/>
              </a:spcBef>
              <a:spcAft>
                <a:spcPct val="0"/>
              </a:spcAft>
              <a:defRPr sz="1400">
                <a:solidFill>
                  <a:schemeClr val="tx1"/>
                </a:solidFill>
                <a:latin typeface="Arial" panose="020B0604020202020204" pitchFamily="34" charset="0"/>
              </a:defRPr>
            </a:lvl9pPr>
          </a:lstStyle>
          <a:p>
            <a:pPr eaLnBrk="1" hangingPunct="1">
              <a:defRPr/>
            </a:pPr>
            <a:endParaRPr lang="en-US" altLang="en-US" sz="990">
              <a:solidFill>
                <a:schemeClr val="tx1">
                  <a:lumMod val="50000"/>
                </a:schemeClr>
              </a:solidFill>
              <a:ea typeface="MS PGothic" panose="020B0600070205080204" pitchFamily="34" charset="-128"/>
            </a:endParaRPr>
          </a:p>
        </p:txBody>
      </p:sp>
      <p:sp>
        <p:nvSpPr>
          <p:cNvPr id="82949" name="TextBox 4">
            <a:extLst>
              <a:ext uri="{FF2B5EF4-FFF2-40B4-BE49-F238E27FC236}">
                <a16:creationId xmlns:a16="http://schemas.microsoft.com/office/drawing/2014/main" id="{8AD58143-EA3D-48AD-ABAD-A093F66D82AA}"/>
              </a:ext>
            </a:extLst>
          </p:cNvPr>
          <p:cNvSpPr txBox="1">
            <a:spLocks noChangeArrowheads="1"/>
          </p:cNvSpPr>
          <p:nvPr/>
        </p:nvSpPr>
        <p:spPr bwMode="auto">
          <a:xfrm>
            <a:off x="774779" y="789094"/>
            <a:ext cx="7282338"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zh-CN" altLang="en-US" sz="1350" dirty="0">
                <a:solidFill>
                  <a:schemeClr val="tx1">
                    <a:lumMod val="50000"/>
                  </a:schemeClr>
                </a:solidFill>
              </a:rPr>
              <a:t>点击 “</a:t>
            </a:r>
            <a:r>
              <a:rPr lang="en-US" altLang="zh-CN" sz="1350" dirty="0">
                <a:solidFill>
                  <a:schemeClr val="tx1">
                    <a:lumMod val="50000"/>
                  </a:schemeClr>
                </a:solidFill>
              </a:rPr>
              <a:t>Thesaurus</a:t>
            </a:r>
            <a:r>
              <a:rPr lang="zh-CN" altLang="en-US" sz="1350" b="1" dirty="0">
                <a:solidFill>
                  <a:schemeClr val="tx1">
                    <a:lumMod val="50000"/>
                  </a:schemeClr>
                </a:solidFill>
              </a:rPr>
              <a:t>”</a:t>
            </a:r>
            <a:r>
              <a:rPr lang="zh-CN" altLang="en-US" sz="1350" dirty="0">
                <a:solidFill>
                  <a:schemeClr val="tx1">
                    <a:lumMod val="50000"/>
                  </a:schemeClr>
                </a:solidFill>
              </a:rPr>
              <a:t>，打开叙词表，输入关键词，点击“</a:t>
            </a:r>
            <a:r>
              <a:rPr lang="en-US" altLang="zh-CN" sz="1350" dirty="0">
                <a:solidFill>
                  <a:schemeClr val="tx1">
                    <a:lumMod val="50000"/>
                  </a:schemeClr>
                </a:solidFill>
              </a:rPr>
              <a:t>Search Index</a:t>
            </a:r>
            <a:r>
              <a:rPr lang="zh-CN" altLang="en-US" sz="1350" b="1" dirty="0">
                <a:solidFill>
                  <a:schemeClr val="tx1">
                    <a:lumMod val="50000"/>
                  </a:schemeClr>
                </a:solidFill>
              </a:rPr>
              <a:t>”</a:t>
            </a:r>
            <a:r>
              <a:rPr lang="zh-CN" altLang="en-US" sz="1350" dirty="0">
                <a:solidFill>
                  <a:schemeClr val="tx1">
                    <a:lumMod val="50000"/>
                  </a:schemeClr>
                </a:solidFill>
              </a:rPr>
              <a:t>，</a:t>
            </a:r>
            <a:endParaRPr lang="en-US" altLang="zh-CN" sz="1350" dirty="0">
              <a:solidFill>
                <a:schemeClr val="tx1">
                  <a:lumMod val="50000"/>
                </a:schemeClr>
              </a:solidFill>
            </a:endParaRPr>
          </a:p>
          <a:p>
            <a:pPr eaLnBrk="1" hangingPunct="1"/>
            <a:r>
              <a:rPr lang="zh-CN" altLang="en-US" sz="1350" dirty="0">
                <a:solidFill>
                  <a:schemeClr val="tx1">
                    <a:lumMod val="50000"/>
                  </a:schemeClr>
                </a:solidFill>
              </a:rPr>
              <a:t>系统显示与之相应的叙词，勾选后，系统将所选的叙词调入检索框。</a:t>
            </a:r>
            <a:endParaRPr lang="en-US" altLang="zh-CN" sz="1350" dirty="0">
              <a:solidFill>
                <a:schemeClr val="tx1">
                  <a:lumMod val="50000"/>
                </a:schemeClr>
              </a:solidFill>
            </a:endParaRPr>
          </a:p>
          <a:p>
            <a:pPr eaLnBrk="1" hangingPunct="1"/>
            <a:r>
              <a:rPr lang="zh-CN" altLang="en-US" sz="1350" dirty="0">
                <a:solidFill>
                  <a:schemeClr val="tx1">
                    <a:lumMod val="50000"/>
                  </a:schemeClr>
                </a:solidFill>
              </a:rPr>
              <a:t>选完词后，点击”</a:t>
            </a:r>
            <a:r>
              <a:rPr lang="en-US" altLang="en-US" sz="1350" dirty="0">
                <a:solidFill>
                  <a:schemeClr val="tx1">
                    <a:lumMod val="50000"/>
                  </a:schemeClr>
                </a:solidFill>
              </a:rPr>
              <a:t>search</a:t>
            </a:r>
            <a:r>
              <a:rPr lang="en-US" altLang="en-US" sz="1350" b="1" dirty="0">
                <a:solidFill>
                  <a:schemeClr val="tx1">
                    <a:lumMod val="50000"/>
                  </a:schemeClr>
                </a:solidFill>
              </a:rPr>
              <a:t>”</a:t>
            </a:r>
            <a:r>
              <a:rPr lang="zh-CN" altLang="en-US" sz="1350" dirty="0">
                <a:solidFill>
                  <a:schemeClr val="tx1">
                    <a:lumMod val="50000"/>
                  </a:schemeClr>
                </a:solidFill>
              </a:rPr>
              <a:t>检索</a:t>
            </a:r>
            <a:endParaRPr lang="en-US" altLang="en-US" sz="1350" dirty="0">
              <a:solidFill>
                <a:schemeClr val="tx1">
                  <a:lumMod val="50000"/>
                </a:schemeClr>
              </a:solidFill>
            </a:endParaRPr>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68D66E-F7AD-44F4-8BA6-5DE9237FBAE0}"/>
              </a:ext>
            </a:extLst>
          </p:cNvPr>
          <p:cNvPicPr>
            <a:picLocks noChangeAspect="1"/>
          </p:cNvPicPr>
          <p:nvPr/>
        </p:nvPicPr>
        <p:blipFill>
          <a:blip r:embed="rId3"/>
          <a:stretch>
            <a:fillRect/>
          </a:stretch>
        </p:blipFill>
        <p:spPr>
          <a:xfrm>
            <a:off x="145928" y="199066"/>
            <a:ext cx="9013440" cy="4913698"/>
          </a:xfrm>
          <a:prstGeom prst="rect">
            <a:avLst/>
          </a:prstGeom>
        </p:spPr>
      </p:pic>
      <p:sp>
        <p:nvSpPr>
          <p:cNvPr id="6" name="Arrow: Down 5">
            <a:extLst>
              <a:ext uri="{FF2B5EF4-FFF2-40B4-BE49-F238E27FC236}">
                <a16:creationId xmlns:a16="http://schemas.microsoft.com/office/drawing/2014/main" id="{A00E2464-557E-4368-B732-DC9066300173}"/>
              </a:ext>
            </a:extLst>
          </p:cNvPr>
          <p:cNvSpPr/>
          <p:nvPr/>
        </p:nvSpPr>
        <p:spPr>
          <a:xfrm>
            <a:off x="5466036" y="142275"/>
            <a:ext cx="693420" cy="502929"/>
          </a:xfrm>
          <a:prstGeom prst="downArrow">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EFD88651-E3ED-4B20-B89B-8BF4672E469E}"/>
              </a:ext>
            </a:extLst>
          </p:cNvPr>
          <p:cNvSpPr/>
          <p:nvPr/>
        </p:nvSpPr>
        <p:spPr>
          <a:xfrm>
            <a:off x="5356540" y="668256"/>
            <a:ext cx="1051944" cy="230776"/>
          </a:xfrm>
          <a:prstGeom prst="rect">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a:p>
        </p:txBody>
      </p:sp>
      <p:sp>
        <p:nvSpPr>
          <p:cNvPr id="8" name="TextBox 7">
            <a:extLst>
              <a:ext uri="{FF2B5EF4-FFF2-40B4-BE49-F238E27FC236}">
                <a16:creationId xmlns:a16="http://schemas.microsoft.com/office/drawing/2014/main" id="{521845CC-A6FC-4061-ADE8-0C71B40466FD}"/>
              </a:ext>
            </a:extLst>
          </p:cNvPr>
          <p:cNvSpPr txBox="1"/>
          <p:nvPr/>
        </p:nvSpPr>
        <p:spPr>
          <a:xfrm>
            <a:off x="5702320" y="126907"/>
            <a:ext cx="335280" cy="507831"/>
          </a:xfrm>
          <a:prstGeom prst="rect">
            <a:avLst/>
          </a:prstGeom>
          <a:noFill/>
        </p:spPr>
        <p:txBody>
          <a:bodyPr wrap="square" rtlCol="0">
            <a:spAutoFit/>
          </a:bodyPr>
          <a:lstStyle/>
          <a:p>
            <a:r>
              <a:rPr lang="en-US" altLang="zh-CN" sz="900" dirty="0" err="1">
                <a:solidFill>
                  <a:schemeClr val="tx1">
                    <a:lumMod val="50000"/>
                  </a:schemeClr>
                </a:solidFill>
              </a:rPr>
              <a:t>Ei</a:t>
            </a:r>
            <a:r>
              <a:rPr lang="zh-CN" altLang="en-US" sz="900" dirty="0">
                <a:solidFill>
                  <a:schemeClr val="tx1">
                    <a:lumMod val="50000"/>
                  </a:schemeClr>
                </a:solidFill>
              </a:rPr>
              <a:t>特指</a:t>
            </a:r>
            <a:endParaRPr lang="en-US" sz="900" dirty="0">
              <a:solidFill>
                <a:schemeClr val="tx1">
                  <a:lumMod val="50000"/>
                </a:schemeClr>
              </a:solidFill>
            </a:endParaRPr>
          </a:p>
        </p:txBody>
      </p:sp>
    </p:spTree>
    <p:extLst>
      <p:ext uri="{BB962C8B-B14F-4D97-AF65-F5344CB8AC3E}">
        <p14:creationId xmlns:p14="http://schemas.microsoft.com/office/powerpoint/2010/main" val="395801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標題 3">
            <a:extLst>
              <a:ext uri="{FF2B5EF4-FFF2-40B4-BE49-F238E27FC236}">
                <a16:creationId xmlns:a16="http://schemas.microsoft.com/office/drawing/2014/main" id="{44D098B2-77A0-4B6A-BB27-0318D4EA6C92}"/>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113666" name="標題 4">
            <a:extLst>
              <a:ext uri="{FF2B5EF4-FFF2-40B4-BE49-F238E27FC236}">
                <a16:creationId xmlns:a16="http://schemas.microsoft.com/office/drawing/2014/main" id="{E0B36CB2-610A-45DE-B108-B14F9505E49B}"/>
              </a:ext>
            </a:extLst>
          </p:cNvPr>
          <p:cNvSpPr txBox="1">
            <a:spLocks/>
          </p:cNvSpPr>
          <p:nvPr/>
        </p:nvSpPr>
        <p:spPr bwMode="auto">
          <a:xfrm>
            <a:off x="1524477" y="3819049"/>
            <a:ext cx="5829300" cy="461665"/>
          </a:xfrm>
          <a:prstGeom prst="rect">
            <a:avLst/>
          </a:prstGeom>
          <a:noFill/>
          <a:ln w="9525">
            <a:noFill/>
            <a:miter lim="800000"/>
            <a:headEnd/>
            <a:tailEnd/>
          </a:ln>
        </p:spPr>
        <p:txBody>
          <a:bodyPr lIns="0" rIns="0">
            <a:spAutoFit/>
          </a:bodyPr>
          <a:lstStyle/>
          <a:p>
            <a:pPr defTabSz="320954">
              <a:defRPr/>
            </a:pPr>
            <a:r>
              <a:rPr lang="zh-CN" altLang="en-US" sz="2400" b="1">
                <a:solidFill>
                  <a:srgbClr val="003C79"/>
                </a:solidFill>
                <a:latin typeface="Calibri" pitchFamily="34" charset="0"/>
                <a:ea typeface="PMingLiU-ExtB" pitchFamily="18" charset="-120"/>
              </a:rPr>
              <a:t>个人化功能</a:t>
            </a:r>
            <a:endParaRPr lang="zh-TW" altLang="en-US" sz="2400" b="1">
              <a:solidFill>
                <a:srgbClr val="003C79"/>
              </a:solidFill>
              <a:latin typeface="Calibri" pitchFamily="34" charset="0"/>
              <a:ea typeface="PMingLiU-ExtB" pitchFamily="18" charset="-120"/>
            </a:endParaRPr>
          </a:p>
        </p:txBody>
      </p:sp>
      <p:pic>
        <p:nvPicPr>
          <p:cNvPr id="83972" name="Picture 2">
            <a:extLst>
              <a:ext uri="{FF2B5EF4-FFF2-40B4-BE49-F238E27FC236}">
                <a16:creationId xmlns:a16="http://schemas.microsoft.com/office/drawing/2014/main" id="{724285F0-7663-4BF3-AB90-E0A634F833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 y="0"/>
            <a:ext cx="9133046" cy="3843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3" name="Picture 3" descr="C:\Users\LiuK002\Desktop\Elsevier related\Elsevier pictures\EV\EV_6.bmp">
            <a:extLst>
              <a:ext uri="{FF2B5EF4-FFF2-40B4-BE49-F238E27FC236}">
                <a16:creationId xmlns:a16="http://schemas.microsoft.com/office/drawing/2014/main" id="{DE3A8B2A-A24B-4B80-856A-F51A303C51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31812" y="3545414"/>
            <a:ext cx="828675" cy="80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標題 1">
            <a:extLst>
              <a:ext uri="{FF2B5EF4-FFF2-40B4-BE49-F238E27FC236}">
                <a16:creationId xmlns:a16="http://schemas.microsoft.com/office/drawing/2014/main" id="{B570BADC-2726-460F-8173-5C9D3A52B4A9}"/>
              </a:ext>
            </a:extLst>
          </p:cNvPr>
          <p:cNvSpPr>
            <a:spLocks noGrp="1"/>
          </p:cNvSpPr>
          <p:nvPr>
            <p:ph type="title"/>
          </p:nvPr>
        </p:nvSpPr>
        <p:spPr>
          <a:xfrm>
            <a:off x="1375887" y="450057"/>
            <a:ext cx="6625113" cy="434340"/>
          </a:xfrm>
        </p:spPr>
        <p:txBody>
          <a:bodyPr rtlCol="0">
            <a:noAutofit/>
          </a:bodyPr>
          <a:lstStyle/>
          <a:p>
            <a:pPr defTabSz="342887">
              <a:defRPr/>
            </a:pPr>
            <a:r>
              <a:rPr lang="en-US" altLang="zh-TW" sz="2400" dirty="0">
                <a:latin typeface="Calibri" pitchFamily="34" charset="0"/>
                <a:ea typeface="PMingLiU-ExtB" pitchFamily="18" charset="-120"/>
              </a:rPr>
              <a:t>My Profile</a:t>
            </a:r>
            <a:endParaRPr lang="en-US" altLang="zh-CN" sz="2400" dirty="0">
              <a:latin typeface="Calibri" pitchFamily="34" charset="0"/>
              <a:ea typeface="PMingLiU-ExtB" pitchFamily="18" charset="-120"/>
            </a:endParaRPr>
          </a:p>
        </p:txBody>
      </p:sp>
      <p:sp>
        <p:nvSpPr>
          <p:cNvPr id="86019" name="內容版面配置區 2">
            <a:extLst>
              <a:ext uri="{FF2B5EF4-FFF2-40B4-BE49-F238E27FC236}">
                <a16:creationId xmlns:a16="http://schemas.microsoft.com/office/drawing/2014/main" id="{E1629731-C6BA-45E7-AA6F-8C669A861BB2}"/>
              </a:ext>
            </a:extLst>
          </p:cNvPr>
          <p:cNvSpPr>
            <a:spLocks noGrp="1" noChangeArrowheads="1"/>
          </p:cNvSpPr>
          <p:nvPr>
            <p:ph idx="1"/>
          </p:nvPr>
        </p:nvSpPr>
        <p:spPr/>
        <p:txBody>
          <a:bodyPr/>
          <a:lstStyle/>
          <a:p>
            <a:pPr eaLnBrk="1" hangingPunct="1"/>
            <a:r>
              <a:rPr lang="zh-TW" altLang="en-US" dirty="0">
                <a:latin typeface="Calibri" panose="020F0502020204030204" pitchFamily="34" charset="0"/>
                <a:ea typeface="PMingLiU-ExtB" panose="02020500000000000000" pitchFamily="18" charset="-120"/>
                <a:cs typeface="Arial" panose="020B0604020202020204" pitchFamily="34" charset="0"/>
              </a:rPr>
              <a:t>功能</a:t>
            </a:r>
          </a:p>
          <a:p>
            <a:pPr lvl="1" eaLnBrk="1" hangingPunct="1"/>
            <a:r>
              <a:rPr lang="zh-CN" altLang="en-US" sz="1800" dirty="0">
                <a:latin typeface="Calibri" panose="020F0502020204030204" pitchFamily="34" charset="0"/>
                <a:ea typeface="PMingLiU-ExtB" panose="02020500000000000000" pitchFamily="18" charset="-120"/>
              </a:rPr>
              <a:t>储存检索策略 </a:t>
            </a:r>
            <a:r>
              <a:rPr lang="en-US" altLang="zh-CN" sz="1800" dirty="0">
                <a:latin typeface="Calibri" panose="020F0502020204030204" pitchFamily="34" charset="0"/>
                <a:ea typeface="PMingLiU-ExtB" panose="02020500000000000000" pitchFamily="18" charset="-120"/>
              </a:rPr>
              <a:t>(125</a:t>
            </a:r>
            <a:r>
              <a:rPr lang="zh-CN" altLang="en-US" sz="1800" dirty="0">
                <a:latin typeface="Calibri" panose="020F0502020204030204" pitchFamily="34" charset="0"/>
                <a:ea typeface="PMingLiU-ExtB" panose="02020500000000000000" pitchFamily="18" charset="-120"/>
              </a:rPr>
              <a:t>个</a:t>
            </a:r>
            <a:r>
              <a:rPr lang="en-US" altLang="zh-CN" sz="1800" dirty="0">
                <a:latin typeface="Calibri" panose="020F0502020204030204" pitchFamily="34" charset="0"/>
                <a:ea typeface="PMingLiU-ExtB" panose="02020500000000000000" pitchFamily="18" charset="-120"/>
              </a:rPr>
              <a:t>)</a:t>
            </a:r>
          </a:p>
          <a:p>
            <a:pPr lvl="1" eaLnBrk="1" hangingPunct="1"/>
            <a:r>
              <a:rPr lang="zh-TW" altLang="en-US" sz="1800" dirty="0">
                <a:solidFill>
                  <a:srgbClr val="FF0000"/>
                </a:solidFill>
                <a:latin typeface="Calibri" panose="020F0502020204030204" pitchFamily="34" charset="0"/>
                <a:ea typeface="PMingLiU-ExtB" panose="02020500000000000000" pitchFamily="18" charset="-120"/>
              </a:rPr>
              <a:t>建立</a:t>
            </a:r>
            <a:r>
              <a:rPr lang="en-US" altLang="zh-TW" sz="1800" dirty="0">
                <a:solidFill>
                  <a:srgbClr val="FF0000"/>
                </a:solidFill>
                <a:latin typeface="Calibri" panose="020F0502020204030204" pitchFamily="34" charset="0"/>
                <a:ea typeface="PMingLiU-ExtB" panose="02020500000000000000" pitchFamily="18" charset="-120"/>
              </a:rPr>
              <a:t>E-mail Alert (25</a:t>
            </a:r>
            <a:r>
              <a:rPr lang="zh-TW" altLang="en-US" sz="1800" dirty="0">
                <a:solidFill>
                  <a:srgbClr val="FF0000"/>
                </a:solidFill>
                <a:latin typeface="Calibri" panose="020F0502020204030204" pitchFamily="34" charset="0"/>
                <a:ea typeface="PMingLiU-ExtB" panose="02020500000000000000" pitchFamily="18" charset="-120"/>
              </a:rPr>
              <a:t>篇</a:t>
            </a:r>
            <a:r>
              <a:rPr lang="en-US" altLang="zh-TW" sz="1800" dirty="0">
                <a:solidFill>
                  <a:srgbClr val="FF0000"/>
                </a:solidFill>
                <a:latin typeface="Calibri" panose="020F0502020204030204" pitchFamily="34" charset="0"/>
                <a:ea typeface="PMingLiU-ExtB" panose="02020500000000000000" pitchFamily="18" charset="-120"/>
              </a:rPr>
              <a:t>)</a:t>
            </a:r>
          </a:p>
          <a:p>
            <a:pPr lvl="1" eaLnBrk="1" hangingPunct="1"/>
            <a:r>
              <a:rPr lang="zh-CN" altLang="en-US" sz="1800" dirty="0">
                <a:latin typeface="Calibri" panose="020F0502020204030204" pitchFamily="34" charset="0"/>
                <a:ea typeface="PMingLiU-ExtB" panose="02020500000000000000" pitchFamily="18" charset="-120"/>
              </a:rPr>
              <a:t>建立个人数据夹</a:t>
            </a:r>
          </a:p>
          <a:p>
            <a:pPr lvl="2" eaLnBrk="1" hangingPunct="1"/>
            <a:r>
              <a:rPr lang="en-US" altLang="zh-CN" sz="1800" dirty="0">
                <a:latin typeface="Calibri" panose="020F0502020204030204" pitchFamily="34" charset="0"/>
                <a:ea typeface="PMingLiU-ExtB" panose="02020500000000000000" pitchFamily="18" charset="-120"/>
              </a:rPr>
              <a:t>3</a:t>
            </a:r>
            <a:r>
              <a:rPr lang="zh-CN" altLang="en-US" sz="1800" dirty="0">
                <a:latin typeface="Calibri" panose="020F0502020204030204" pitchFamily="34" charset="0"/>
                <a:ea typeface="PMingLiU-ExtB" panose="02020500000000000000" pitchFamily="18" charset="-120"/>
              </a:rPr>
              <a:t>个资料夹</a:t>
            </a:r>
          </a:p>
          <a:p>
            <a:pPr lvl="2" eaLnBrk="1" hangingPunct="1"/>
            <a:r>
              <a:rPr lang="zh-CN" altLang="en-US" sz="1800" dirty="0">
                <a:latin typeface="Calibri" panose="020F0502020204030204" pitchFamily="34" charset="0"/>
                <a:ea typeface="PMingLiU-ExtB" panose="02020500000000000000" pitchFamily="18" charset="-120"/>
              </a:rPr>
              <a:t>每个数据夹可储存</a:t>
            </a:r>
            <a:r>
              <a:rPr lang="en-US" altLang="zh-CN" sz="1800" dirty="0">
                <a:latin typeface="Calibri" panose="020F0502020204030204" pitchFamily="34" charset="0"/>
                <a:ea typeface="PMingLiU-ExtB" panose="02020500000000000000" pitchFamily="18" charset="-120"/>
              </a:rPr>
              <a:t>50</a:t>
            </a:r>
            <a:r>
              <a:rPr lang="zh-CN" altLang="en-US" sz="1800" dirty="0">
                <a:latin typeface="Calibri" panose="020F0502020204030204" pitchFamily="34" charset="0"/>
                <a:ea typeface="PMingLiU-ExtB" panose="02020500000000000000" pitchFamily="18" charset="-120"/>
              </a:rPr>
              <a:t>篇记录</a:t>
            </a:r>
          </a:p>
          <a:p>
            <a:pPr lvl="1" eaLnBrk="1" hangingPunct="1"/>
            <a:r>
              <a:rPr lang="zh-CN" altLang="en-US" sz="1800" dirty="0">
                <a:latin typeface="Calibri" panose="020F0502020204030204" pitchFamily="34" charset="0"/>
                <a:ea typeface="PMingLiU-ExtB" panose="02020500000000000000" pitchFamily="18" charset="-120"/>
              </a:rPr>
              <a:t>修改个人账号信息</a:t>
            </a:r>
          </a:p>
          <a:p>
            <a:pPr eaLnBrk="1" hangingPunct="1"/>
            <a:endParaRPr lang="en-US" altLang="zh-CN" dirty="0">
              <a:latin typeface="Calibri" panose="020F0502020204030204" pitchFamily="34" charset="0"/>
              <a:ea typeface="PMingLiU-ExtB" panose="02020500000000000000" pitchFamily="18" charset="-120"/>
              <a:cs typeface="Arial" panose="020B0604020202020204" pitchFamily="34" charset="0"/>
            </a:endParaRPr>
          </a:p>
        </p:txBody>
      </p:sp>
    </p:spTree>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2" descr="C:\Documents and Settings\LiuK002\Desktop\Elsevier pictures\EV\New EV interface\EV_1.bmp">
            <a:extLst>
              <a:ext uri="{FF2B5EF4-FFF2-40B4-BE49-F238E27FC236}">
                <a16:creationId xmlns:a16="http://schemas.microsoft.com/office/drawing/2014/main" id="{3DB3C92C-953F-478C-BB53-F346C17EE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2904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6" name="Rectangle 3">
            <a:extLst>
              <a:ext uri="{FF2B5EF4-FFF2-40B4-BE49-F238E27FC236}">
                <a16:creationId xmlns:a16="http://schemas.microsoft.com/office/drawing/2014/main" id="{734209FC-77F4-4490-92A0-C91E9DA82B98}"/>
              </a:ext>
            </a:extLst>
          </p:cNvPr>
          <p:cNvSpPr txBox="1">
            <a:spLocks noChangeArrowheads="1"/>
          </p:cNvSpPr>
          <p:nvPr/>
        </p:nvSpPr>
        <p:spPr bwMode="auto">
          <a:xfrm>
            <a:off x="2061686" y="2778919"/>
            <a:ext cx="3729038" cy="1220153"/>
          </a:xfrm>
          <a:prstGeom prst="rect">
            <a:avLst/>
          </a:prstGeom>
          <a:noFill/>
          <a:ln w="9525">
            <a:noFill/>
            <a:miter lim="800000"/>
            <a:headEnd/>
            <a:tailEnd/>
          </a:ln>
        </p:spPr>
        <p:txBody>
          <a:bodyPr tIns="68580" bIns="68580"/>
          <a:lstStyle/>
          <a:p>
            <a:pPr>
              <a:lnSpc>
                <a:spcPct val="80000"/>
              </a:lnSpc>
              <a:spcBef>
                <a:spcPct val="50000"/>
              </a:spcBef>
              <a:buFont typeface="Times" pitchFamily="18" charset="0"/>
              <a:buChar char="•"/>
              <a:defRPr/>
            </a:pPr>
            <a:r>
              <a:rPr lang="zh-CN" altLang="en-US" sz="2100" dirty="0">
                <a:latin typeface="Calibri" pitchFamily="34" charset="0"/>
                <a:ea typeface="MS PGothic" pitchFamily="34" charset="-128"/>
              </a:rPr>
              <a:t>数值检索</a:t>
            </a:r>
            <a:endParaRPr lang="en-US" altLang="zh-CN" sz="2100" dirty="0">
              <a:latin typeface="Calibri" pitchFamily="34" charset="0"/>
              <a:ea typeface="MS PGothic" pitchFamily="34" charset="-128"/>
            </a:endParaRPr>
          </a:p>
          <a:p>
            <a:pPr>
              <a:lnSpc>
                <a:spcPct val="80000"/>
              </a:lnSpc>
              <a:spcBef>
                <a:spcPct val="50000"/>
              </a:spcBef>
              <a:buFont typeface="Times" pitchFamily="18" charset="0"/>
              <a:buChar char="•"/>
              <a:defRPr/>
            </a:pPr>
            <a:r>
              <a:rPr lang="en-US" sz="2160" dirty="0" err="1"/>
              <a:t>PlumX</a:t>
            </a:r>
            <a:r>
              <a:rPr lang="en-US" sz="2160" dirty="0"/>
              <a:t> </a:t>
            </a:r>
            <a:r>
              <a:rPr lang="zh-CN" altLang="en-US" sz="2160" dirty="0"/>
              <a:t>指数</a:t>
            </a:r>
            <a:endParaRPr lang="en-US" altLang="zh-CN" sz="2160" dirty="0"/>
          </a:p>
          <a:p>
            <a:pPr>
              <a:lnSpc>
                <a:spcPct val="80000"/>
              </a:lnSpc>
              <a:spcBef>
                <a:spcPct val="50000"/>
              </a:spcBef>
              <a:buFont typeface="Times" pitchFamily="18" charset="0"/>
              <a:buChar char="•"/>
              <a:defRPr/>
            </a:pPr>
            <a:r>
              <a:rPr lang="zh-CN" altLang="en-US" sz="2160" dirty="0">
                <a:latin typeface="Calibri" pitchFamily="34" charset="0"/>
                <a:ea typeface="MS PGothic" pitchFamily="34" charset="-128"/>
              </a:rPr>
              <a:t>工科院校</a:t>
            </a:r>
            <a:r>
              <a:rPr lang="en-US" altLang="zh-CN" sz="2160" dirty="0" err="1">
                <a:latin typeface="Calibri" pitchFamily="34" charset="0"/>
                <a:ea typeface="MS PGothic" pitchFamily="34" charset="-128"/>
              </a:rPr>
              <a:t>Ei</a:t>
            </a:r>
            <a:r>
              <a:rPr lang="zh-CN" altLang="en-US" sz="2160" dirty="0">
                <a:latin typeface="Calibri" pitchFamily="34" charset="0"/>
                <a:ea typeface="MS PGothic" pitchFamily="34" charset="-128"/>
              </a:rPr>
              <a:t>档案</a:t>
            </a:r>
            <a:endParaRPr lang="en-US" altLang="zh-CN" sz="2160" dirty="0">
              <a:latin typeface="Calibri" pitchFamily="34" charset="0"/>
              <a:ea typeface="MS PGothic" pitchFamily="34" charset="-128"/>
            </a:endParaRPr>
          </a:p>
          <a:p>
            <a:pPr>
              <a:lnSpc>
                <a:spcPct val="80000"/>
              </a:lnSpc>
              <a:spcBef>
                <a:spcPct val="50000"/>
              </a:spcBef>
              <a:buFont typeface="Times" pitchFamily="18" charset="0"/>
              <a:buChar char="•"/>
              <a:defRPr/>
            </a:pPr>
            <a:r>
              <a:rPr lang="zh-CN" altLang="en-US" sz="2160" dirty="0">
                <a:latin typeface="Calibri" pitchFamily="34" charset="0"/>
                <a:ea typeface="MS PGothic" pitchFamily="34" charset="-128"/>
              </a:rPr>
              <a:t>检索历史</a:t>
            </a:r>
            <a:endParaRPr lang="zh-TW" altLang="en-US" sz="2100" dirty="0">
              <a:latin typeface="Calibri" pitchFamily="34" charset="0"/>
              <a:ea typeface="MS PGothic" pitchFamily="34" charset="-128"/>
            </a:endParaRPr>
          </a:p>
        </p:txBody>
      </p:sp>
      <p:sp>
        <p:nvSpPr>
          <p:cNvPr id="36867" name="矩形 4">
            <a:extLst>
              <a:ext uri="{FF2B5EF4-FFF2-40B4-BE49-F238E27FC236}">
                <a16:creationId xmlns:a16="http://schemas.microsoft.com/office/drawing/2014/main" id="{AF5FB13E-A97F-4C8C-AC4F-4FB80B0AA5C1}"/>
              </a:ext>
            </a:extLst>
          </p:cNvPr>
          <p:cNvSpPr>
            <a:spLocks noChangeArrowheads="1"/>
          </p:cNvSpPr>
          <p:nvPr/>
        </p:nvSpPr>
        <p:spPr bwMode="auto">
          <a:xfrm>
            <a:off x="366541" y="2761546"/>
            <a:ext cx="1422184" cy="389209"/>
          </a:xfrm>
          <a:prstGeom prst="rect">
            <a:avLst/>
          </a:prstGeom>
          <a:noFill/>
          <a:ln w="9525">
            <a:noFill/>
            <a:miter lim="800000"/>
            <a:headEnd/>
            <a:tailEnd/>
          </a:ln>
        </p:spPr>
        <p:txBody>
          <a:bodyPr wrap="none">
            <a:spAutoFit/>
          </a:bodyPr>
          <a:lstStyle/>
          <a:p>
            <a:pPr>
              <a:lnSpc>
                <a:spcPct val="80000"/>
              </a:lnSpc>
              <a:spcBef>
                <a:spcPct val="50000"/>
              </a:spcBef>
              <a:buFont typeface="Times" pitchFamily="18" charset="0"/>
              <a:buNone/>
              <a:defRPr/>
            </a:pPr>
            <a:r>
              <a:rPr lang="zh-CN" altLang="en-US" sz="2400" b="1" dirty="0">
                <a:solidFill>
                  <a:srgbClr val="0070C0"/>
                </a:solidFill>
                <a:latin typeface="PMingLiU-ExtB" pitchFamily="18" charset="-120"/>
                <a:ea typeface="PMingLiU-ExtB" pitchFamily="18" charset="-120"/>
              </a:rPr>
              <a:t>特别功能</a:t>
            </a:r>
            <a:endParaRPr lang="en-US" altLang="zh-TW" sz="2400" b="1" dirty="0">
              <a:solidFill>
                <a:srgbClr val="0070C0"/>
              </a:solidFill>
              <a:latin typeface="Calibri" pitchFamily="34" charset="0"/>
              <a:ea typeface="MS PGothic" pitchFamily="34" charset="-128"/>
            </a:endParaRPr>
          </a:p>
        </p:txBody>
      </p:sp>
      <p:pic>
        <p:nvPicPr>
          <p:cNvPr id="88070" name="Picture 2" descr="C:\Users\fells\AppData\Local\Temp\SNAGHTMLfe6434e.PNG">
            <a:extLst>
              <a:ext uri="{FF2B5EF4-FFF2-40B4-BE49-F238E27FC236}">
                <a16:creationId xmlns:a16="http://schemas.microsoft.com/office/drawing/2014/main" id="{F9FDA1D6-EEC5-4BB1-8A98-B813C8F07A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6479" y="2633222"/>
            <a:ext cx="3027521" cy="205597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id="{94B96DB6-A19B-4916-B709-6D43B334AEA1}"/>
              </a:ext>
            </a:extLst>
          </p:cNvPr>
          <p:cNvSpPr>
            <a:spLocks noGrp="1" noChangeArrowheads="1"/>
          </p:cNvSpPr>
          <p:nvPr>
            <p:ph type="title"/>
          </p:nvPr>
        </p:nvSpPr>
        <p:spPr>
          <a:xfrm>
            <a:off x="1331595" y="484347"/>
            <a:ext cx="6177915" cy="314325"/>
          </a:xfrm>
        </p:spPr>
        <p:txBody>
          <a:bodyPr/>
          <a:lstStyle/>
          <a:p>
            <a:pPr eaLnBrk="1" hangingPunct="1"/>
            <a:r>
              <a:rPr lang="zh-CN" altLang="en-US" sz="2520">
                <a:latin typeface="Arial Bold" panose="020B0704020202020204" pitchFamily="34" charset="0"/>
                <a:cs typeface="Arial Bold" panose="020B0704020202020204" pitchFamily="34" charset="0"/>
              </a:rPr>
              <a:t>数值检索</a:t>
            </a:r>
            <a:r>
              <a:rPr lang="en-US" altLang="zh-CN" sz="2520">
                <a:latin typeface="Arial Bold" panose="020B0704020202020204" pitchFamily="34" charset="0"/>
                <a:cs typeface="Arial Bold" panose="020B0704020202020204" pitchFamily="34" charset="0"/>
              </a:rPr>
              <a:t>-</a:t>
            </a:r>
            <a:r>
              <a:rPr lang="zh-CN" altLang="en-US" sz="2520">
                <a:latin typeface="Arial Bold" panose="020B0704020202020204" pitchFamily="34" charset="0"/>
                <a:cs typeface="Arial Bold" panose="020B0704020202020204" pitchFamily="34" charset="0"/>
              </a:rPr>
              <a:t>来自数值数据的更多信息</a:t>
            </a:r>
            <a:endParaRPr lang="en-US" altLang="en-US" sz="216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9D39E8A5-BD31-4FA5-9A26-90A8424F1C96}"/>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53</a:t>
            </a:fld>
            <a:endParaRPr lang="en-US" altLang="zh-CN" dirty="0"/>
          </a:p>
        </p:txBody>
      </p:sp>
      <p:pic>
        <p:nvPicPr>
          <p:cNvPr id="90116" name="Picture 4">
            <a:extLst>
              <a:ext uri="{FF2B5EF4-FFF2-40B4-BE49-F238E27FC236}">
                <a16:creationId xmlns:a16="http://schemas.microsoft.com/office/drawing/2014/main" id="{0A9C31E1-48AA-416C-A736-A6D52DAB21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026" y="798672"/>
            <a:ext cx="6322484" cy="363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a:extLst>
              <a:ext uri="{FF2B5EF4-FFF2-40B4-BE49-F238E27FC236}">
                <a16:creationId xmlns:a16="http://schemas.microsoft.com/office/drawing/2014/main" id="{C6624227-2646-42AD-815A-0AED4410D85A}"/>
              </a:ext>
            </a:extLst>
          </p:cNvPr>
          <p:cNvSpPr>
            <a:spLocks noGrp="1" noChangeArrowheads="1"/>
          </p:cNvSpPr>
          <p:nvPr>
            <p:ph type="title"/>
          </p:nvPr>
        </p:nvSpPr>
        <p:spPr/>
        <p:txBody>
          <a:bodyPr/>
          <a:lstStyle/>
          <a:p>
            <a:pPr eaLnBrk="1" hangingPunct="1"/>
            <a:r>
              <a:rPr lang="zh-CN" altLang="en-US" sz="2520">
                <a:latin typeface="Arial Bold" panose="020B0704020202020204" pitchFamily="34" charset="0"/>
                <a:cs typeface="Arial Bold" panose="020B0704020202020204" pitchFamily="34" charset="0"/>
              </a:rPr>
              <a:t>数值检索</a:t>
            </a:r>
            <a:endParaRPr lang="en-US" altLang="en-US" sz="252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08401F7C-99B2-4427-BE7D-D06D684420A7}"/>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54</a:t>
            </a:fld>
            <a:endParaRPr lang="en-US" altLang="zh-CN" dirty="0"/>
          </a:p>
        </p:txBody>
      </p:sp>
      <p:pic>
        <p:nvPicPr>
          <p:cNvPr id="91140" name="Picture 3">
            <a:extLst>
              <a:ext uri="{FF2B5EF4-FFF2-40B4-BE49-F238E27FC236}">
                <a16:creationId xmlns:a16="http://schemas.microsoft.com/office/drawing/2014/main" id="{74B62FFE-3EEC-46D3-8AD5-F73E742423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974531"/>
            <a:ext cx="6858000" cy="238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1" name="TextBox 4">
            <a:extLst>
              <a:ext uri="{FF2B5EF4-FFF2-40B4-BE49-F238E27FC236}">
                <a16:creationId xmlns:a16="http://schemas.microsoft.com/office/drawing/2014/main" id="{F0CDDE9A-CB46-4FEC-B003-8A2074C8D926}"/>
              </a:ext>
            </a:extLst>
          </p:cNvPr>
          <p:cNvSpPr txBox="1">
            <a:spLocks noChangeArrowheads="1"/>
          </p:cNvSpPr>
          <p:nvPr/>
        </p:nvSpPr>
        <p:spPr bwMode="auto">
          <a:xfrm>
            <a:off x="576262" y="787242"/>
            <a:ext cx="7699442"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1400" dirty="0"/>
              <a:t>Engineering Village</a:t>
            </a:r>
            <a:r>
              <a:rPr lang="zh-CN" altLang="en-US" sz="1400" dirty="0"/>
              <a:t>是唯一支持</a:t>
            </a:r>
            <a:r>
              <a:rPr lang="en-US" altLang="zh-CN" sz="1400" dirty="0" err="1"/>
              <a:t>Compendex</a:t>
            </a:r>
            <a:r>
              <a:rPr lang="zh-CN" altLang="en-US" sz="1400" dirty="0"/>
              <a:t>和</a:t>
            </a:r>
            <a:r>
              <a:rPr lang="en-US" altLang="zh-CN" sz="1400" dirty="0" err="1"/>
              <a:t>Inspec</a:t>
            </a:r>
            <a:r>
              <a:rPr lang="zh-CN" altLang="en-US" sz="1400" dirty="0"/>
              <a:t>数值搜索的平台。 数值数据通常描述工程文献中最重要的方面。 通过数字数据索引，研究人员可以访问可能未通过纯文本搜索发现的文档。</a:t>
            </a:r>
          </a:p>
          <a:p>
            <a:r>
              <a:rPr lang="en-US" altLang="zh-CN" sz="1400" dirty="0"/>
              <a:t>-</a:t>
            </a:r>
            <a:r>
              <a:rPr lang="zh-CN" altLang="en-US" sz="1400" dirty="0"/>
              <a:t>为</a:t>
            </a:r>
            <a:r>
              <a:rPr lang="en-US" altLang="zh-CN" sz="1400" dirty="0" err="1"/>
              <a:t>Compendex</a:t>
            </a:r>
            <a:r>
              <a:rPr lang="zh-CN" altLang="en-US" sz="1400" dirty="0"/>
              <a:t>索引的</a:t>
            </a:r>
            <a:r>
              <a:rPr lang="en-US" altLang="zh-CN" sz="1400" dirty="0"/>
              <a:t>62</a:t>
            </a:r>
            <a:r>
              <a:rPr lang="zh-CN" altLang="en-US" sz="1400" dirty="0"/>
              <a:t>种不同的物理和化学性质。</a:t>
            </a:r>
          </a:p>
          <a:p>
            <a:r>
              <a:rPr lang="en-US" altLang="zh-CN" sz="1400" dirty="0"/>
              <a:t>-</a:t>
            </a:r>
            <a:r>
              <a:rPr lang="zh-CN" altLang="en-US" sz="1400" dirty="0"/>
              <a:t>在</a:t>
            </a:r>
            <a:r>
              <a:rPr lang="en-US" altLang="zh-CN" sz="1400" dirty="0" err="1"/>
              <a:t>Compendex</a:t>
            </a:r>
            <a:r>
              <a:rPr lang="zh-CN" altLang="en-US" sz="1400" dirty="0"/>
              <a:t>和</a:t>
            </a:r>
            <a:r>
              <a:rPr lang="en-US" altLang="zh-CN" sz="1400" dirty="0" err="1"/>
              <a:t>Inspec</a:t>
            </a:r>
            <a:r>
              <a:rPr lang="zh-CN" altLang="en-US" sz="1400" dirty="0"/>
              <a:t>数据库中可用于交叉搜索的记录超过</a:t>
            </a:r>
            <a:r>
              <a:rPr lang="en-US" altLang="zh-CN" sz="1400" dirty="0"/>
              <a:t>650</a:t>
            </a:r>
            <a:r>
              <a:rPr lang="zh-CN" altLang="en-US" sz="1400" dirty="0"/>
              <a:t>万条。</a:t>
            </a:r>
          </a:p>
          <a:p>
            <a:r>
              <a:rPr lang="en-US" altLang="zh-CN" sz="1400" dirty="0"/>
              <a:t>-460,000</a:t>
            </a:r>
            <a:r>
              <a:rPr lang="zh-CN" altLang="en-US" sz="1400" dirty="0"/>
              <a:t>种不同的数字数据写入方式 </a:t>
            </a:r>
            <a:r>
              <a:rPr lang="en-US" altLang="zh-CN" sz="1400" dirty="0"/>
              <a:t>- </a:t>
            </a:r>
            <a:r>
              <a:rPr lang="zh-CN" altLang="en-US" sz="1400" dirty="0"/>
              <a:t>匹配，转换和标准化。</a:t>
            </a:r>
            <a:endParaRPr lang="en-US" altLang="en-US" sz="1400" dirty="0"/>
          </a:p>
        </p:txBody>
      </p:sp>
    </p:spTree>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a:extLst>
              <a:ext uri="{FF2B5EF4-FFF2-40B4-BE49-F238E27FC236}">
                <a16:creationId xmlns:a16="http://schemas.microsoft.com/office/drawing/2014/main" id="{3A989B87-98F3-4CFF-BDD6-3BBE6F7CDDB4}"/>
              </a:ext>
            </a:extLst>
          </p:cNvPr>
          <p:cNvSpPr>
            <a:spLocks noGrp="1" noChangeArrowheads="1"/>
          </p:cNvSpPr>
          <p:nvPr>
            <p:ph type="title"/>
          </p:nvPr>
        </p:nvSpPr>
        <p:spPr/>
        <p:txBody>
          <a:bodyPr/>
          <a:lstStyle/>
          <a:p>
            <a:pPr eaLnBrk="1" hangingPunct="1"/>
            <a:endParaRPr lang="en-US" altLang="en-US">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BCFDEB79-8220-4917-AF6F-646E6FCB0FAF}"/>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55</a:t>
            </a:fld>
            <a:endParaRPr lang="en-US" altLang="zh-CN" dirty="0"/>
          </a:p>
        </p:txBody>
      </p:sp>
      <p:pic>
        <p:nvPicPr>
          <p:cNvPr id="92164" name="Picture 3">
            <a:extLst>
              <a:ext uri="{FF2B5EF4-FFF2-40B4-BE49-F238E27FC236}">
                <a16:creationId xmlns:a16="http://schemas.microsoft.com/office/drawing/2014/main" id="{0C7A303C-A698-44DF-A3CB-BCFF59DD87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593" y="308575"/>
            <a:ext cx="7991475" cy="472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a:extLst>
              <a:ext uri="{FF2B5EF4-FFF2-40B4-BE49-F238E27FC236}">
                <a16:creationId xmlns:a16="http://schemas.microsoft.com/office/drawing/2014/main" id="{7FCCD9D0-9470-4B0E-947F-9F3FCD9EAB61}"/>
              </a:ext>
            </a:extLst>
          </p:cNvPr>
          <p:cNvSpPr>
            <a:spLocks noGrp="1" noChangeArrowheads="1"/>
          </p:cNvSpPr>
          <p:nvPr>
            <p:ph type="title"/>
          </p:nvPr>
        </p:nvSpPr>
        <p:spPr>
          <a:xfrm>
            <a:off x="576263" y="16911"/>
            <a:ext cx="7991475" cy="462759"/>
          </a:xfrm>
        </p:spPr>
        <p:txBody>
          <a:bodyPr/>
          <a:lstStyle/>
          <a:p>
            <a:pPr eaLnBrk="1" hangingPunct="1"/>
            <a:r>
              <a:rPr lang="zh-CN" altLang="en-US" sz="1800">
                <a:latin typeface="Arial Bold" panose="020B0704020202020204" pitchFamily="34" charset="0"/>
                <a:cs typeface="Arial Bold" panose="020B0704020202020204" pitchFamily="34" charset="0"/>
              </a:rPr>
              <a:t>数值检索优势</a:t>
            </a:r>
            <a:endParaRPr lang="en-US" altLang="en-US" sz="180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352F06C8-BDBF-4586-9A4D-C44BE76AFD4A}"/>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56</a:t>
            </a:fld>
            <a:endParaRPr lang="en-US" altLang="zh-CN"/>
          </a:p>
        </p:txBody>
      </p:sp>
      <p:sp>
        <p:nvSpPr>
          <p:cNvPr id="93188" name="Title 1">
            <a:extLst>
              <a:ext uri="{FF2B5EF4-FFF2-40B4-BE49-F238E27FC236}">
                <a16:creationId xmlns:a16="http://schemas.microsoft.com/office/drawing/2014/main" id="{E62ECCD0-2652-4C84-852F-35A110A73A74}"/>
              </a:ext>
            </a:extLst>
          </p:cNvPr>
          <p:cNvSpPr txBox="1">
            <a:spLocks noChangeArrowheads="1"/>
          </p:cNvSpPr>
          <p:nvPr/>
        </p:nvSpPr>
        <p:spPr bwMode="auto">
          <a:xfrm>
            <a:off x="576262" y="479670"/>
            <a:ext cx="6177915" cy="1251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79425" indent="-19050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50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31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712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1701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6273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0845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5417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一：打破计量单位限制</a:t>
            </a:r>
            <a:endParaRPr lang="en-US" altLang="zh-CN" sz="1800" b="1" dirty="0">
              <a:solidFill>
                <a:schemeClr val="accent1"/>
              </a:solidFill>
              <a:latin typeface="Arial Bold" panose="020B0704020202020204" pitchFamily="34" charset="0"/>
              <a:cs typeface="Arial Bold" panose="020B0704020202020204" pitchFamily="34" charset="0"/>
            </a:endParaRPr>
          </a:p>
          <a:p>
            <a:pPr eaLnBrk="1" hangingPunct="1">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二：提高查全率</a:t>
            </a:r>
            <a:r>
              <a:rPr lang="en-US" altLang="zh-CN" sz="1800" b="1" dirty="0">
                <a:solidFill>
                  <a:schemeClr val="accent1"/>
                </a:solidFill>
                <a:latin typeface="Arial Bold" panose="020B0704020202020204" pitchFamily="34" charset="0"/>
                <a:cs typeface="Arial Bold" panose="020B0704020202020204" pitchFamily="34" charset="0"/>
              </a:rPr>
              <a:t>-</a:t>
            </a:r>
            <a:r>
              <a:rPr lang="zh-CN" altLang="en-US" sz="1800" b="1" dirty="0">
                <a:solidFill>
                  <a:schemeClr val="accent1"/>
                </a:solidFill>
                <a:latin typeface="Arial Bold" panose="020B0704020202020204" pitchFamily="34" charset="0"/>
                <a:cs typeface="Arial Bold" panose="020B0704020202020204" pitchFamily="34" charset="0"/>
              </a:rPr>
              <a:t>数值检索比关键词检索的结果多出一倍</a:t>
            </a:r>
            <a:endParaRPr lang="en-US" altLang="zh-CN" sz="1800" b="1" dirty="0">
              <a:solidFill>
                <a:schemeClr val="accent1"/>
              </a:solidFill>
              <a:latin typeface="Arial Bold" panose="020B0704020202020204" pitchFamily="34" charset="0"/>
              <a:cs typeface="Arial Bold" panose="020B0704020202020204" pitchFamily="34" charset="0"/>
            </a:endParaRPr>
          </a:p>
          <a:p>
            <a:pPr eaLnBrk="1" hangingPunct="1">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三：高效便捷地跟踪前沿</a:t>
            </a:r>
            <a:endParaRPr lang="en-US" altLang="zh-CN" sz="1800" b="1" dirty="0">
              <a:solidFill>
                <a:schemeClr val="accent1"/>
              </a:solidFill>
              <a:latin typeface="Arial Bold" panose="020B0704020202020204" pitchFamily="34" charset="0"/>
              <a:cs typeface="Arial Bold" panose="020B0704020202020204" pitchFamily="34" charset="0"/>
            </a:endParaRPr>
          </a:p>
          <a:p>
            <a:pPr eaLnBrk="1" hangingPunct="1">
              <a:spcBef>
                <a:spcPct val="0"/>
              </a:spcBef>
              <a:buFontTx/>
              <a:buNone/>
            </a:pPr>
            <a:endParaRPr lang="en-US" altLang="en-US" sz="1800" b="1" dirty="0">
              <a:solidFill>
                <a:schemeClr val="accent1"/>
              </a:solidFill>
              <a:latin typeface="Arial Bold" panose="020B0704020202020204" pitchFamily="34" charset="0"/>
              <a:ea typeface="黑体" panose="02010609060101010101" pitchFamily="49" charset="-122"/>
              <a:cs typeface="Arial Bold" panose="020B0704020202020204" pitchFamily="34" charset="0"/>
            </a:endParaRPr>
          </a:p>
        </p:txBody>
      </p:sp>
      <p:pic>
        <p:nvPicPr>
          <p:cNvPr id="93189" name="Picture 5">
            <a:extLst>
              <a:ext uri="{FF2B5EF4-FFF2-40B4-BE49-F238E27FC236}">
                <a16:creationId xmlns:a16="http://schemas.microsoft.com/office/drawing/2014/main" id="{E57AF5BC-C686-4D8E-BBEE-D81DAA66383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8780" y="1404150"/>
            <a:ext cx="8306439" cy="3707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FB07B2BE-E82C-41EC-A484-904CAAE28175}"/>
              </a:ext>
            </a:extLst>
          </p:cNvPr>
          <p:cNvSpPr>
            <a:spLocks noGrp="1" noChangeArrowheads="1"/>
          </p:cNvSpPr>
          <p:nvPr>
            <p:ph type="title"/>
          </p:nvPr>
        </p:nvSpPr>
        <p:spPr>
          <a:xfrm>
            <a:off x="576263" y="178275"/>
            <a:ext cx="7991475" cy="462759"/>
          </a:xfrm>
        </p:spPr>
        <p:txBody>
          <a:bodyPr/>
          <a:lstStyle/>
          <a:p>
            <a:pPr eaLnBrk="1" hangingPunct="1"/>
            <a:r>
              <a:rPr lang="en-US" altLang="en-US" sz="1800" dirty="0" err="1">
                <a:latin typeface="Arial Bold" panose="020B0704020202020204" pitchFamily="34" charset="0"/>
                <a:cs typeface="Arial Bold" panose="020B0704020202020204" pitchFamily="34" charset="0"/>
              </a:rPr>
              <a:t>PlumX</a:t>
            </a:r>
            <a:r>
              <a:rPr lang="en-US" altLang="en-US" sz="1800" dirty="0">
                <a:latin typeface="Arial Bold" panose="020B0704020202020204" pitchFamily="34" charset="0"/>
                <a:cs typeface="Arial Bold" panose="020B0704020202020204" pitchFamily="34" charset="0"/>
              </a:rPr>
              <a:t> </a:t>
            </a:r>
            <a:r>
              <a:rPr lang="zh-CN" altLang="en-US" sz="1800" dirty="0">
                <a:latin typeface="Arial Bold" panose="020B0704020202020204" pitchFamily="34" charset="0"/>
                <a:cs typeface="Arial Bold" panose="020B0704020202020204" pitchFamily="34" charset="0"/>
              </a:rPr>
              <a:t>指数：进一步了解论文影响力</a:t>
            </a:r>
            <a:endParaRPr lang="en-US" altLang="en-US" sz="1800" dirty="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77E9FBA4-E366-4489-B660-D9151DD03C19}"/>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57</a:t>
            </a:fld>
            <a:endParaRPr lang="en-US" altLang="zh-CN"/>
          </a:p>
        </p:txBody>
      </p:sp>
      <p:pic>
        <p:nvPicPr>
          <p:cNvPr id="94212" name="Picture 3" descr="image003">
            <a:extLst>
              <a:ext uri="{FF2B5EF4-FFF2-40B4-BE49-F238E27FC236}">
                <a16:creationId xmlns:a16="http://schemas.microsoft.com/office/drawing/2014/main" id="{3AA8A60D-0211-43D3-8066-4CFCD16DAD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31619" r="87370"/>
          <a:stretch>
            <a:fillRect/>
          </a:stretch>
        </p:blipFill>
        <p:spPr bwMode="auto">
          <a:xfrm>
            <a:off x="652609" y="885755"/>
            <a:ext cx="1261595" cy="351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4213" name="Group 18">
            <a:extLst>
              <a:ext uri="{FF2B5EF4-FFF2-40B4-BE49-F238E27FC236}">
                <a16:creationId xmlns:a16="http://schemas.microsoft.com/office/drawing/2014/main" id="{3382AE2A-7E64-4481-9348-FD2260FE0620}"/>
              </a:ext>
            </a:extLst>
          </p:cNvPr>
          <p:cNvGrpSpPr>
            <a:grpSpLocks/>
          </p:cNvGrpSpPr>
          <p:nvPr/>
        </p:nvGrpSpPr>
        <p:grpSpPr bwMode="auto">
          <a:xfrm>
            <a:off x="2083621" y="605873"/>
            <a:ext cx="6614705" cy="4009819"/>
            <a:chOff x="3038818" y="1501355"/>
            <a:chExt cx="5751169" cy="5109534"/>
          </a:xfrm>
        </p:grpSpPr>
        <p:sp>
          <p:nvSpPr>
            <p:cNvPr id="5" name="Rectangle 4">
              <a:extLst>
                <a:ext uri="{FF2B5EF4-FFF2-40B4-BE49-F238E27FC236}">
                  <a16:creationId xmlns:a16="http://schemas.microsoft.com/office/drawing/2014/main" id="{DDAB7D01-1370-4C90-B3E5-14BFA80BF04A}"/>
                </a:ext>
              </a:extLst>
            </p:cNvPr>
            <p:cNvSpPr/>
            <p:nvPr/>
          </p:nvSpPr>
          <p:spPr>
            <a:xfrm>
              <a:off x="3049300" y="1501355"/>
              <a:ext cx="5644602" cy="369580"/>
            </a:xfrm>
            <a:prstGeom prst="rect">
              <a:avLst/>
            </a:prstGeom>
            <a:solidFill>
              <a:srgbClr val="A7A8AA">
                <a:lumMod val="20000"/>
                <a:lumOff val="80000"/>
              </a:srgbClr>
            </a:solidFill>
            <a:ln w="12700" cap="flat" cmpd="sng" algn="ctr">
              <a:solidFill>
                <a:srgbClr val="A7A8AA">
                  <a:lumMod val="20000"/>
                  <a:lumOff val="80000"/>
                </a:srgbClr>
              </a:solidFill>
              <a:prstDash val="solid"/>
              <a:miter lim="800000"/>
            </a:ln>
            <a:effectLst/>
          </p:spPr>
          <p:txBody>
            <a:bodyPr anchor="ctr"/>
            <a:lstStyle/>
            <a:p>
              <a:pPr algn="ctr" defTabSz="822960">
                <a:defRPr/>
              </a:pPr>
              <a:endParaRPr lang="en-US" sz="1620" kern="0" dirty="0">
                <a:solidFill>
                  <a:srgbClr val="FFFFFF"/>
                </a:solidFill>
                <a:latin typeface="Calibri"/>
              </a:endParaRPr>
            </a:p>
          </p:txBody>
        </p:sp>
        <p:sp>
          <p:nvSpPr>
            <p:cNvPr id="94215" name="Rectangle 5">
              <a:extLst>
                <a:ext uri="{FF2B5EF4-FFF2-40B4-BE49-F238E27FC236}">
                  <a16:creationId xmlns:a16="http://schemas.microsoft.com/office/drawing/2014/main" id="{4930699D-EACA-49EB-8E73-DF87CF0FA7C6}"/>
                </a:ext>
              </a:extLst>
            </p:cNvPr>
            <p:cNvSpPr>
              <a:spLocks noChangeArrowheads="1"/>
            </p:cNvSpPr>
            <p:nvPr/>
          </p:nvSpPr>
          <p:spPr bwMode="auto">
            <a:xfrm>
              <a:off x="3055840" y="1501355"/>
              <a:ext cx="4477628" cy="43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1620" b="1" dirty="0" err="1">
                  <a:solidFill>
                    <a:srgbClr val="53565A"/>
                  </a:solidFill>
                  <a:latin typeface="Calibri" panose="020F0502020204030204" pitchFamily="34" charset="0"/>
                </a:rPr>
                <a:t>PlumX</a:t>
              </a:r>
              <a:r>
                <a:rPr lang="en-US" altLang="en-US" sz="1620" b="1" dirty="0">
                  <a:solidFill>
                    <a:srgbClr val="53565A"/>
                  </a:solidFill>
                  <a:latin typeface="Calibri" panose="020F0502020204030204" pitchFamily="34" charset="0"/>
                </a:rPr>
                <a:t> Metrics</a:t>
              </a:r>
            </a:p>
          </p:txBody>
        </p:sp>
        <p:sp>
          <p:nvSpPr>
            <p:cNvPr id="7" name="Rectangle 6">
              <a:extLst>
                <a:ext uri="{FF2B5EF4-FFF2-40B4-BE49-F238E27FC236}">
                  <a16:creationId xmlns:a16="http://schemas.microsoft.com/office/drawing/2014/main" id="{2E53221E-FD45-440E-9028-B203DBA4B72B}"/>
                </a:ext>
              </a:extLst>
            </p:cNvPr>
            <p:cNvSpPr/>
            <p:nvPr/>
          </p:nvSpPr>
          <p:spPr>
            <a:xfrm>
              <a:off x="3049300" y="1870935"/>
              <a:ext cx="5644602" cy="63721"/>
            </a:xfrm>
            <a:prstGeom prst="rect">
              <a:avLst/>
            </a:prstGeom>
            <a:solidFill>
              <a:srgbClr val="FF8200"/>
            </a:solidFill>
            <a:ln w="12700" cap="flat" cmpd="sng" algn="ctr">
              <a:solidFill>
                <a:srgbClr val="FF8200">
                  <a:shade val="50000"/>
                </a:srgbClr>
              </a:solidFill>
              <a:prstDash val="solid"/>
              <a:miter lim="800000"/>
            </a:ln>
            <a:effectLst/>
          </p:spPr>
          <p:txBody>
            <a:bodyPr anchor="ctr"/>
            <a:lstStyle/>
            <a:p>
              <a:pPr algn="ctr" defTabSz="822960">
                <a:defRPr/>
              </a:pPr>
              <a:endParaRPr lang="en-US" sz="1620" kern="0" dirty="0">
                <a:solidFill>
                  <a:srgbClr val="FFFFFF"/>
                </a:solidFill>
                <a:latin typeface="Calibri"/>
              </a:endParaRPr>
            </a:p>
          </p:txBody>
        </p:sp>
        <p:sp>
          <p:nvSpPr>
            <p:cNvPr id="8" name="TextBox 7">
              <a:extLst>
                <a:ext uri="{FF2B5EF4-FFF2-40B4-BE49-F238E27FC236}">
                  <a16:creationId xmlns:a16="http://schemas.microsoft.com/office/drawing/2014/main" id="{09D25E22-7C6D-4A09-8B4E-604E85D22794}"/>
                </a:ext>
              </a:extLst>
            </p:cNvPr>
            <p:cNvSpPr txBox="1"/>
            <p:nvPr/>
          </p:nvSpPr>
          <p:spPr>
            <a:xfrm>
              <a:off x="3049299" y="2012940"/>
              <a:ext cx="5740688" cy="1388338"/>
            </a:xfrm>
            <a:prstGeom prst="rect">
              <a:avLst/>
            </a:prstGeom>
            <a:noFill/>
          </p:spPr>
          <p:txBody>
            <a:bodyPr>
              <a:spAutoFit/>
            </a:bodyPr>
            <a:lstStyle/>
            <a:p>
              <a:pPr defTabSz="411480">
                <a:defRPr/>
              </a:pPr>
              <a:r>
                <a:rPr lang="en-US" altLang="zh-CN" sz="1620" dirty="0" err="1">
                  <a:solidFill>
                    <a:srgbClr val="53565A"/>
                  </a:solidFill>
                  <a:latin typeface="+mn-ea"/>
                </a:rPr>
                <a:t>PlumX</a:t>
              </a:r>
              <a:r>
                <a:rPr lang="en-US" altLang="zh-CN" sz="1620" dirty="0">
                  <a:solidFill>
                    <a:srgbClr val="53565A"/>
                  </a:solidFill>
                  <a:latin typeface="+mn-ea"/>
                </a:rPr>
                <a:t> Metrics</a:t>
              </a:r>
              <a:r>
                <a:rPr lang="zh-CN" altLang="en-US" sz="1620" dirty="0">
                  <a:solidFill>
                    <a:srgbClr val="53565A"/>
                  </a:solidFill>
                  <a:latin typeface="+mn-ea"/>
                </a:rPr>
                <a:t>提供了人们与在线环境中各个研究成果交互方式的衡量。在评估研究文章时，度量标准可用于确定文档的范围或影响。度量标准分为</a:t>
              </a:r>
              <a:r>
                <a:rPr lang="en-US" altLang="zh-CN" sz="1620" dirty="0">
                  <a:solidFill>
                    <a:srgbClr val="53565A"/>
                  </a:solidFill>
                  <a:latin typeface="+mn-ea"/>
                </a:rPr>
                <a:t>5</a:t>
              </a:r>
              <a:r>
                <a:rPr lang="zh-CN" altLang="en-US" sz="1620" dirty="0">
                  <a:solidFill>
                    <a:srgbClr val="53565A"/>
                  </a:solidFill>
                  <a:latin typeface="+mn-ea"/>
                </a:rPr>
                <a:t>个独立区域：</a:t>
              </a:r>
              <a:endParaRPr lang="en-US" sz="1620" dirty="0">
                <a:solidFill>
                  <a:srgbClr val="53565A"/>
                </a:solidFill>
                <a:latin typeface="+mn-ea"/>
              </a:endParaRPr>
            </a:p>
          </p:txBody>
        </p:sp>
        <p:sp>
          <p:nvSpPr>
            <p:cNvPr id="94218" name="TextBox 8">
              <a:extLst>
                <a:ext uri="{FF2B5EF4-FFF2-40B4-BE49-F238E27FC236}">
                  <a16:creationId xmlns:a16="http://schemas.microsoft.com/office/drawing/2014/main" id="{7D16332A-C0F9-4896-A39F-973DD3892F26}"/>
                </a:ext>
              </a:extLst>
            </p:cNvPr>
            <p:cNvSpPr txBox="1">
              <a:spLocks noChangeArrowheads="1"/>
            </p:cNvSpPr>
            <p:nvPr/>
          </p:nvSpPr>
          <p:spPr bwMode="auto">
            <a:xfrm>
              <a:off x="3049941" y="5522573"/>
              <a:ext cx="2413880" cy="1088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dirty="0">
                  <a:solidFill>
                    <a:srgbClr val="53565A"/>
                  </a:solidFill>
                </a:rPr>
                <a:t>Citations</a:t>
              </a:r>
              <a:r>
                <a:rPr lang="en-US" altLang="en-US" sz="990" dirty="0">
                  <a:solidFill>
                    <a:srgbClr val="53565A"/>
                  </a:solidFill>
                </a:rPr>
                <a:t> – traditional citation indexes such as Scopus, as well as citations that help indicate societal impact such as Clinical or Policy Citations.</a:t>
              </a:r>
            </a:p>
          </p:txBody>
        </p:sp>
        <p:sp>
          <p:nvSpPr>
            <p:cNvPr id="94219" name="TextBox 9">
              <a:extLst>
                <a:ext uri="{FF2B5EF4-FFF2-40B4-BE49-F238E27FC236}">
                  <a16:creationId xmlns:a16="http://schemas.microsoft.com/office/drawing/2014/main" id="{2177EAB3-8AFE-4189-8FA5-4FF0759F9649}"/>
                </a:ext>
              </a:extLst>
            </p:cNvPr>
            <p:cNvSpPr txBox="1">
              <a:spLocks noChangeArrowheads="1"/>
            </p:cNvSpPr>
            <p:nvPr/>
          </p:nvSpPr>
          <p:spPr bwMode="auto">
            <a:xfrm>
              <a:off x="5992370" y="5591112"/>
              <a:ext cx="2318800"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Impact</a:t>
              </a:r>
              <a:r>
                <a:rPr lang="en-US" altLang="en-US" sz="990">
                  <a:solidFill>
                    <a:srgbClr val="53565A"/>
                  </a:solidFill>
                </a:rPr>
                <a:t> – indicate societal impact such as Clinical or Policy Citations.</a:t>
              </a:r>
            </a:p>
          </p:txBody>
        </p:sp>
        <p:sp>
          <p:nvSpPr>
            <p:cNvPr id="94220" name="TextBox 10">
              <a:extLst>
                <a:ext uri="{FF2B5EF4-FFF2-40B4-BE49-F238E27FC236}">
                  <a16:creationId xmlns:a16="http://schemas.microsoft.com/office/drawing/2014/main" id="{FF314862-EB47-4553-9DDC-A0A13DAA1C1F}"/>
                </a:ext>
              </a:extLst>
            </p:cNvPr>
            <p:cNvSpPr txBox="1">
              <a:spLocks noChangeArrowheads="1"/>
            </p:cNvSpPr>
            <p:nvPr/>
          </p:nvSpPr>
          <p:spPr bwMode="auto">
            <a:xfrm>
              <a:off x="3055841" y="2922865"/>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dirty="0">
                  <a:solidFill>
                    <a:srgbClr val="53565A"/>
                  </a:solidFill>
                </a:rPr>
                <a:t>Usage</a:t>
              </a:r>
              <a:r>
                <a:rPr lang="en-US" altLang="en-US" sz="990" dirty="0">
                  <a:solidFill>
                    <a:srgbClr val="53565A"/>
                  </a:solidFill>
                </a:rPr>
                <a:t>  - clicks, downloads, views, library holdings, video plays </a:t>
              </a:r>
            </a:p>
          </p:txBody>
        </p:sp>
        <p:sp>
          <p:nvSpPr>
            <p:cNvPr id="94221" name="TextBox 11">
              <a:extLst>
                <a:ext uri="{FF2B5EF4-FFF2-40B4-BE49-F238E27FC236}">
                  <a16:creationId xmlns:a16="http://schemas.microsoft.com/office/drawing/2014/main" id="{2EF7C03A-B5CA-4862-8F2F-258A82703035}"/>
                </a:ext>
              </a:extLst>
            </p:cNvPr>
            <p:cNvSpPr txBox="1">
              <a:spLocks noChangeArrowheads="1"/>
            </p:cNvSpPr>
            <p:nvPr/>
          </p:nvSpPr>
          <p:spPr bwMode="auto">
            <a:xfrm>
              <a:off x="5966023" y="2922863"/>
              <a:ext cx="2128830" cy="50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Reach</a:t>
              </a:r>
              <a:r>
                <a:rPr lang="en-US" altLang="en-US" sz="990">
                  <a:solidFill>
                    <a:srgbClr val="53565A"/>
                  </a:solidFill>
                </a:rPr>
                <a:t> –How many others are using the research. </a:t>
              </a:r>
            </a:p>
          </p:txBody>
        </p:sp>
        <p:sp>
          <p:nvSpPr>
            <p:cNvPr id="94222" name="TextBox 12">
              <a:extLst>
                <a:ext uri="{FF2B5EF4-FFF2-40B4-BE49-F238E27FC236}">
                  <a16:creationId xmlns:a16="http://schemas.microsoft.com/office/drawing/2014/main" id="{1CED45C5-3E77-43D6-9D9D-C262F257AFCF}"/>
                </a:ext>
              </a:extLst>
            </p:cNvPr>
            <p:cNvSpPr txBox="1">
              <a:spLocks noChangeArrowheads="1"/>
            </p:cNvSpPr>
            <p:nvPr/>
          </p:nvSpPr>
          <p:spPr bwMode="auto">
            <a:xfrm>
              <a:off x="3038818" y="3537184"/>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Captures</a:t>
              </a:r>
              <a:r>
                <a:rPr lang="en-US" altLang="en-US" sz="990">
                  <a:solidFill>
                    <a:srgbClr val="53565A"/>
                  </a:solidFill>
                </a:rPr>
                <a:t> – Bookmarks and favorites are examples of Captures.</a:t>
              </a:r>
            </a:p>
          </p:txBody>
        </p:sp>
        <p:sp>
          <p:nvSpPr>
            <p:cNvPr id="94223" name="TextBox 13">
              <a:extLst>
                <a:ext uri="{FF2B5EF4-FFF2-40B4-BE49-F238E27FC236}">
                  <a16:creationId xmlns:a16="http://schemas.microsoft.com/office/drawing/2014/main" id="{044AB485-9E41-4239-B1A5-14CA00CFCFA4}"/>
                </a:ext>
              </a:extLst>
            </p:cNvPr>
            <p:cNvSpPr txBox="1">
              <a:spLocks noChangeArrowheads="1"/>
            </p:cNvSpPr>
            <p:nvPr/>
          </p:nvSpPr>
          <p:spPr bwMode="auto">
            <a:xfrm>
              <a:off x="3055840" y="4848702"/>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Social media</a:t>
              </a:r>
              <a:r>
                <a:rPr lang="en-US" altLang="en-US" sz="990">
                  <a:solidFill>
                    <a:srgbClr val="53565A"/>
                  </a:solidFill>
                </a:rPr>
                <a:t> -tweets, Facebook likes, etc. that reference the research. </a:t>
              </a:r>
            </a:p>
          </p:txBody>
        </p:sp>
        <p:sp>
          <p:nvSpPr>
            <p:cNvPr id="94224" name="TextBox 14">
              <a:extLst>
                <a:ext uri="{FF2B5EF4-FFF2-40B4-BE49-F238E27FC236}">
                  <a16:creationId xmlns:a16="http://schemas.microsoft.com/office/drawing/2014/main" id="{84AEFD99-E7AA-4BD8-9D4F-DC8E82390D3D}"/>
                </a:ext>
              </a:extLst>
            </p:cNvPr>
            <p:cNvSpPr txBox="1">
              <a:spLocks noChangeArrowheads="1"/>
            </p:cNvSpPr>
            <p:nvPr/>
          </p:nvSpPr>
          <p:spPr bwMode="auto">
            <a:xfrm>
              <a:off x="3055840" y="4156275"/>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Mentions</a:t>
              </a:r>
              <a:r>
                <a:rPr lang="en-US" altLang="en-US" sz="990">
                  <a:solidFill>
                    <a:srgbClr val="53565A"/>
                  </a:solidFill>
                </a:rPr>
                <a:t> – Blog posts, comments, reviews, and news media are tracked as Mentions.</a:t>
              </a:r>
            </a:p>
          </p:txBody>
        </p:sp>
        <p:sp>
          <p:nvSpPr>
            <p:cNvPr id="94225" name="TextBox 15">
              <a:extLst>
                <a:ext uri="{FF2B5EF4-FFF2-40B4-BE49-F238E27FC236}">
                  <a16:creationId xmlns:a16="http://schemas.microsoft.com/office/drawing/2014/main" id="{C995E0F7-961D-4145-A91B-10A162217EC5}"/>
                </a:ext>
              </a:extLst>
            </p:cNvPr>
            <p:cNvSpPr txBox="1">
              <a:spLocks noChangeArrowheads="1"/>
            </p:cNvSpPr>
            <p:nvPr/>
          </p:nvSpPr>
          <p:spPr bwMode="auto">
            <a:xfrm>
              <a:off x="5966023" y="4153627"/>
              <a:ext cx="2303218" cy="89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Engagement</a:t>
              </a:r>
              <a:r>
                <a:rPr lang="en-US" altLang="en-US" sz="990">
                  <a:solidFill>
                    <a:srgbClr val="53565A"/>
                  </a:solidFill>
                </a:rPr>
                <a:t> – Mentions is a way to tell that people are truly engaging with the research. </a:t>
              </a:r>
            </a:p>
          </p:txBody>
        </p:sp>
        <p:sp>
          <p:nvSpPr>
            <p:cNvPr id="94226" name="TextBox 16">
              <a:extLst>
                <a:ext uri="{FF2B5EF4-FFF2-40B4-BE49-F238E27FC236}">
                  <a16:creationId xmlns:a16="http://schemas.microsoft.com/office/drawing/2014/main" id="{BA818FF0-E554-4624-B6EB-6C4047AB12E0}"/>
                </a:ext>
              </a:extLst>
            </p:cNvPr>
            <p:cNvSpPr txBox="1">
              <a:spLocks noChangeArrowheads="1"/>
            </p:cNvSpPr>
            <p:nvPr/>
          </p:nvSpPr>
          <p:spPr bwMode="auto">
            <a:xfrm>
              <a:off x="5966023" y="3537184"/>
              <a:ext cx="2371498"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Repeat Use</a:t>
              </a:r>
              <a:r>
                <a:rPr lang="en-US" altLang="en-US" sz="990">
                  <a:solidFill>
                    <a:srgbClr val="53565A"/>
                  </a:solidFill>
                </a:rPr>
                <a:t> – Indicates leading indicator of future citations. </a:t>
              </a:r>
            </a:p>
          </p:txBody>
        </p:sp>
        <p:sp>
          <p:nvSpPr>
            <p:cNvPr id="94227" name="TextBox 17">
              <a:extLst>
                <a:ext uri="{FF2B5EF4-FFF2-40B4-BE49-F238E27FC236}">
                  <a16:creationId xmlns:a16="http://schemas.microsoft.com/office/drawing/2014/main" id="{53643E1A-2AD9-4E5F-9E37-EFB809EB87B4}"/>
                </a:ext>
              </a:extLst>
            </p:cNvPr>
            <p:cNvSpPr txBox="1">
              <a:spLocks noChangeArrowheads="1"/>
            </p:cNvSpPr>
            <p:nvPr/>
          </p:nvSpPr>
          <p:spPr bwMode="auto">
            <a:xfrm>
              <a:off x="5966023" y="4849425"/>
              <a:ext cx="2647399" cy="89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Attention</a:t>
              </a:r>
              <a:r>
                <a:rPr lang="en-US" altLang="en-US" sz="990">
                  <a:solidFill>
                    <a:srgbClr val="53565A"/>
                  </a:solidFill>
                </a:rPr>
                <a:t> - Social Media can measure “buzz” and how well a particular piece of research has been promoted.</a:t>
              </a:r>
            </a:p>
          </p:txBody>
        </p:sp>
      </p:grpSp>
    </p:spTree>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C:\Users\fells\AppData\Local\Temp\SNAGHTML438d46.PNG">
            <a:extLst>
              <a:ext uri="{FF2B5EF4-FFF2-40B4-BE49-F238E27FC236}">
                <a16:creationId xmlns:a16="http://schemas.microsoft.com/office/drawing/2014/main" id="{0940F135-D98A-48F6-A11C-25B1D0FE77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0068" y="1821555"/>
            <a:ext cx="5053488" cy="2577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4" name="Date Placeholder 1">
            <a:extLst>
              <a:ext uri="{FF2B5EF4-FFF2-40B4-BE49-F238E27FC236}">
                <a16:creationId xmlns:a16="http://schemas.microsoft.com/office/drawing/2014/main" id="{1BB5C706-83CD-4331-BF64-779D444A443B}"/>
              </a:ext>
            </a:extLst>
          </p:cNvPr>
          <p:cNvSpPr>
            <a:spLocks noGrp="1" noChangeArrowheads="1"/>
          </p:cNvSpPr>
          <p:nvPr>
            <p:ph type="dt" sz="quarter" idx="4294967295"/>
          </p:nvPr>
        </p:nvSpPr>
        <p:spPr bwMode="auto">
          <a:xfrm>
            <a:off x="1143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25000" lnSpcReduction="20000"/>
          </a:bodyPr>
          <a:lstStyle/>
          <a:p>
            <a:endParaRPr lang="de-DE" altLang="en-US"/>
          </a:p>
        </p:txBody>
      </p:sp>
      <p:sp>
        <p:nvSpPr>
          <p:cNvPr id="95235" name="Footer Placeholder 2">
            <a:extLst>
              <a:ext uri="{FF2B5EF4-FFF2-40B4-BE49-F238E27FC236}">
                <a16:creationId xmlns:a16="http://schemas.microsoft.com/office/drawing/2014/main" id="{A93E23B5-74BD-475E-BDFC-C370BDAA0D89}"/>
              </a:ext>
            </a:extLst>
          </p:cNvPr>
          <p:cNvSpPr>
            <a:spLocks noGrp="1" noChangeArrowheads="1"/>
          </p:cNvSpPr>
          <p:nvPr>
            <p:ph type="ftr" sz="quarter" idx="4294967295"/>
          </p:nvPr>
        </p:nvSpPr>
        <p:spPr bwMode="auto">
          <a:xfrm>
            <a:off x="1143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25000" lnSpcReduction="20000"/>
          </a:bodyPr>
          <a:lstStyle/>
          <a:p>
            <a:endParaRPr lang="de-DE" altLang="en-US"/>
          </a:p>
        </p:txBody>
      </p:sp>
      <p:pic>
        <p:nvPicPr>
          <p:cNvPr id="5" name="Picture 2" descr="C:\Users\fells\AppData\Local\Temp\SNAGHTML42cd32.PNG">
            <a:extLst>
              <a:ext uri="{FF2B5EF4-FFF2-40B4-BE49-F238E27FC236}">
                <a16:creationId xmlns:a16="http://schemas.microsoft.com/office/drawing/2014/main" id="{0ED12568-9F10-494F-93AD-2157F8F71B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040" y="810102"/>
            <a:ext cx="5174933" cy="176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8" name="TextBox 9">
            <a:extLst>
              <a:ext uri="{FF2B5EF4-FFF2-40B4-BE49-F238E27FC236}">
                <a16:creationId xmlns:a16="http://schemas.microsoft.com/office/drawing/2014/main" id="{9D46F17D-03DA-4220-A1E7-50769A1B125A}"/>
              </a:ext>
            </a:extLst>
          </p:cNvPr>
          <p:cNvSpPr txBox="1">
            <a:spLocks noChangeArrowheads="1"/>
          </p:cNvSpPr>
          <p:nvPr/>
        </p:nvSpPr>
        <p:spPr bwMode="auto">
          <a:xfrm>
            <a:off x="521807" y="415575"/>
            <a:ext cx="5434965" cy="360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79425" indent="-19050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50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31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712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1701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6273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0845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5417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工科院校</a:t>
            </a:r>
            <a:r>
              <a:rPr lang="en-US" altLang="zh-CN" sz="1800" b="1" dirty="0" err="1">
                <a:solidFill>
                  <a:schemeClr val="accent1"/>
                </a:solidFill>
                <a:latin typeface="Arial Bold" panose="020B0704020202020204" pitchFamily="34" charset="0"/>
                <a:cs typeface="Arial Bold" panose="020B0704020202020204" pitchFamily="34" charset="0"/>
              </a:rPr>
              <a:t>Ei</a:t>
            </a:r>
            <a:r>
              <a:rPr lang="zh-CN" altLang="en-US" sz="1800" b="1" dirty="0">
                <a:solidFill>
                  <a:schemeClr val="accent1"/>
                </a:solidFill>
                <a:latin typeface="Arial Bold" panose="020B0704020202020204" pitchFamily="34" charset="0"/>
                <a:cs typeface="Arial Bold" panose="020B0704020202020204" pitchFamily="34" charset="0"/>
              </a:rPr>
              <a:t>档案 </a:t>
            </a:r>
            <a:r>
              <a:rPr lang="en-US" altLang="en-US" sz="1800" b="1" dirty="0">
                <a:solidFill>
                  <a:schemeClr val="accent1"/>
                </a:solidFill>
                <a:latin typeface="Arial Bold" panose="020B0704020202020204" pitchFamily="34" charset="0"/>
                <a:ea typeface="黑体" panose="02010609060101010101" pitchFamily="49" charset="-122"/>
                <a:cs typeface="Arial Bold" panose="020B0704020202020204" pitchFamily="34" charset="0"/>
              </a:rPr>
              <a:t>Engineering School Profile</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AF0EDC0-630C-D046-B933-7ABE056507FC}"/>
              </a:ext>
            </a:extLst>
          </p:cNvPr>
          <p:cNvSpPr/>
          <p:nvPr/>
        </p:nvSpPr>
        <p:spPr>
          <a:xfrm>
            <a:off x="1143000" y="2666048"/>
            <a:ext cx="6858000" cy="18345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53"/>
          </a:p>
        </p:txBody>
      </p:sp>
      <p:sp>
        <p:nvSpPr>
          <p:cNvPr id="97283" name="Title 1">
            <a:extLst>
              <a:ext uri="{FF2B5EF4-FFF2-40B4-BE49-F238E27FC236}">
                <a16:creationId xmlns:a16="http://schemas.microsoft.com/office/drawing/2014/main" id="{75EF08B2-443E-4EBC-9713-1E70A7B8EEC1}"/>
              </a:ext>
            </a:extLst>
          </p:cNvPr>
          <p:cNvSpPr txBox="1">
            <a:spLocks noChangeArrowheads="1"/>
          </p:cNvSpPr>
          <p:nvPr/>
        </p:nvSpPr>
        <p:spPr bwMode="auto">
          <a:xfrm>
            <a:off x="1555909" y="487204"/>
            <a:ext cx="6032183" cy="46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79425" indent="-19050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50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31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712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1701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6273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0845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5417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zh-CN" altLang="en-US" sz="1800" b="1">
                <a:solidFill>
                  <a:schemeClr val="accent1"/>
                </a:solidFill>
                <a:latin typeface="Arial Bold" panose="020B0704020202020204" pitchFamily="34" charset="0"/>
                <a:cs typeface="Arial Bold" panose="020B0704020202020204" pitchFamily="34" charset="0"/>
              </a:rPr>
              <a:t>工科院校</a:t>
            </a:r>
            <a:r>
              <a:rPr lang="en-US" altLang="zh-CN" sz="1800" b="1">
                <a:solidFill>
                  <a:schemeClr val="accent1"/>
                </a:solidFill>
                <a:latin typeface="Arial Bold" panose="020B0704020202020204" pitchFamily="34" charset="0"/>
                <a:cs typeface="Arial Bold" panose="020B0704020202020204" pitchFamily="34" charset="0"/>
              </a:rPr>
              <a:t>Ei</a:t>
            </a:r>
            <a:r>
              <a:rPr lang="zh-CN" altLang="en-US" sz="1800" b="1">
                <a:solidFill>
                  <a:schemeClr val="accent1"/>
                </a:solidFill>
                <a:latin typeface="Arial Bold" panose="020B0704020202020204" pitchFamily="34" charset="0"/>
                <a:cs typeface="Arial Bold" panose="020B0704020202020204" pitchFamily="34" charset="0"/>
              </a:rPr>
              <a:t>档案</a:t>
            </a:r>
            <a:endParaRPr lang="en-US" altLang="en-US" sz="1800" b="1">
              <a:solidFill>
                <a:schemeClr val="accent1"/>
              </a:solidFill>
              <a:latin typeface="Arial Bold" panose="020B0704020202020204" pitchFamily="34" charset="0"/>
              <a:ea typeface="黑体" panose="02010609060101010101" pitchFamily="49" charset="-122"/>
              <a:cs typeface="Arial Bold" panose="020B0704020202020204" pitchFamily="34" charset="0"/>
            </a:endParaRPr>
          </a:p>
        </p:txBody>
      </p:sp>
      <p:sp>
        <p:nvSpPr>
          <p:cNvPr id="97284" name="Text Placeholder 2">
            <a:extLst>
              <a:ext uri="{FF2B5EF4-FFF2-40B4-BE49-F238E27FC236}">
                <a16:creationId xmlns:a16="http://schemas.microsoft.com/office/drawing/2014/main" id="{40F11778-0EE4-4565-9722-CEADDC7680BE}"/>
              </a:ext>
            </a:extLst>
          </p:cNvPr>
          <p:cNvSpPr txBox="1">
            <a:spLocks noChangeArrowheads="1"/>
          </p:cNvSpPr>
          <p:nvPr/>
        </p:nvSpPr>
        <p:spPr bwMode="auto">
          <a:xfrm>
            <a:off x="1594485" y="1095852"/>
            <a:ext cx="5203508"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5800">
              <a:spcBef>
                <a:spcPct val="20000"/>
              </a:spcBef>
              <a:buFont typeface="Arial" panose="020B0604020202020204" pitchFamily="34" charset="0"/>
              <a:buChar char="•"/>
              <a:tabLst>
                <a:tab pos="266700" algn="l"/>
              </a:tabLst>
              <a:defRPr sz="1600">
                <a:solidFill>
                  <a:srgbClr val="53565A"/>
                </a:solidFill>
                <a:latin typeface="Arial" panose="020B0604020202020204" pitchFamily="34" charset="0"/>
                <a:cs typeface="Arial" panose="020B0604020202020204" pitchFamily="34" charset="0"/>
              </a:defRPr>
            </a:lvl1pPr>
            <a:lvl2pPr marL="514350" indent="-171450" defTabSz="685800">
              <a:spcBef>
                <a:spcPct val="20000"/>
              </a:spcBef>
              <a:buSzPct val="80000"/>
              <a:buFont typeface="ArialMT"/>
              <a:buChar char="–"/>
              <a:tabLst>
                <a:tab pos="266700" algn="l"/>
              </a:tabLst>
              <a:defRPr sz="1500">
                <a:solidFill>
                  <a:srgbClr val="53565A"/>
                </a:solidFill>
                <a:latin typeface="Arial" panose="020B0604020202020204" pitchFamily="34" charset="0"/>
                <a:cs typeface="Arial" panose="020B0604020202020204" pitchFamily="34" charset="0"/>
              </a:defRPr>
            </a:lvl2pPr>
            <a:lvl3pPr marL="8572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3pPr>
            <a:lvl4pPr marL="12001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4pPr>
            <a:lvl5pPr marL="15430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5pPr>
            <a:lvl6pPr marL="20002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6pPr>
            <a:lvl7pPr marL="24574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7pPr>
            <a:lvl8pPr marL="29146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8pPr>
            <a:lvl9pPr marL="33718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9pPr>
          </a:lstStyle>
          <a:p>
            <a:pPr>
              <a:spcBef>
                <a:spcPct val="0"/>
              </a:spcBef>
              <a:spcAft>
                <a:spcPts val="540"/>
              </a:spcAft>
              <a:buClr>
                <a:srgbClr val="FF6C00"/>
              </a:buClr>
              <a:buNone/>
            </a:pPr>
            <a:r>
              <a:rPr lang="zh-CN" altLang="en-US" sz="1440">
                <a:solidFill>
                  <a:schemeClr val="tx1"/>
                </a:solidFill>
              </a:rPr>
              <a:t>综合基金、研究重点和综合情况做出基于数据的科学决策</a:t>
            </a:r>
            <a:endParaRPr lang="en-US" altLang="en-US" sz="1440">
              <a:solidFill>
                <a:schemeClr val="tx1"/>
              </a:solidFill>
              <a:ea typeface="黑体" panose="02010609060101010101" pitchFamily="49" charset="-122"/>
            </a:endParaRPr>
          </a:p>
        </p:txBody>
      </p:sp>
      <p:sp>
        <p:nvSpPr>
          <p:cNvPr id="7" name="TextBox 6">
            <a:extLst>
              <a:ext uri="{FF2B5EF4-FFF2-40B4-BE49-F238E27FC236}">
                <a16:creationId xmlns:a16="http://schemas.microsoft.com/office/drawing/2014/main" id="{4EF05B82-15F4-43FB-8F2A-029C16BA1957}"/>
              </a:ext>
            </a:extLst>
          </p:cNvPr>
          <p:cNvSpPr txBox="1">
            <a:spLocks noChangeArrowheads="1"/>
          </p:cNvSpPr>
          <p:nvPr/>
        </p:nvSpPr>
        <p:spPr bwMode="auto">
          <a:xfrm>
            <a:off x="1594485" y="1657350"/>
            <a:ext cx="507206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1350" b="1">
                <a:latin typeface="Calibri" panose="020F0502020204030204" pitchFamily="34" charset="0"/>
                <a:cs typeface="Arial" panose="020B0604020202020204" pitchFamily="34" charset="0"/>
                <a:sym typeface="Arial" panose="020B0604020202020204" pitchFamily="34" charset="0"/>
              </a:rPr>
              <a:t>基于</a:t>
            </a:r>
            <a:r>
              <a:rPr lang="en-US" altLang="zh-CN" sz="1350" b="1">
                <a:latin typeface="Calibri" panose="020F0502020204030204" pitchFamily="34" charset="0"/>
                <a:cs typeface="Arial" panose="020B0604020202020204" pitchFamily="34" charset="0"/>
                <a:sym typeface="Arial" panose="020B0604020202020204" pitchFamily="34" charset="0"/>
              </a:rPr>
              <a:t>EI Compendex</a:t>
            </a:r>
            <a:r>
              <a:rPr lang="zh-CN" altLang="en-US" sz="1350" b="1">
                <a:latin typeface="Calibri" panose="020F0502020204030204" pitchFamily="34" charset="0"/>
                <a:cs typeface="Arial" panose="020B0604020202020204" pitchFamily="34" charset="0"/>
                <a:sym typeface="Arial" panose="020B0604020202020204" pitchFamily="34" charset="0"/>
              </a:rPr>
              <a:t>数据库分析并回答：</a:t>
            </a:r>
            <a:endParaRPr lang="en-US" altLang="en-US" sz="1350" b="1">
              <a:latin typeface="Calibri" panose="020F0502020204030204" pitchFamily="34" charset="0"/>
              <a:ea typeface="黑体" panose="02010609060101010101" pitchFamily="49" charset="-122"/>
              <a:cs typeface="Arial" panose="020B0604020202020204" pitchFamily="34" charset="0"/>
              <a:sym typeface="Arial" panose="020B0604020202020204" pitchFamily="34" charset="0"/>
            </a:endParaRPr>
          </a:p>
        </p:txBody>
      </p:sp>
      <p:grpSp>
        <p:nvGrpSpPr>
          <p:cNvPr id="8" name="Group 7">
            <a:extLst>
              <a:ext uri="{FF2B5EF4-FFF2-40B4-BE49-F238E27FC236}">
                <a16:creationId xmlns:a16="http://schemas.microsoft.com/office/drawing/2014/main" id="{945A5B30-45F8-495E-AE9D-65EA413E713D}"/>
              </a:ext>
            </a:extLst>
          </p:cNvPr>
          <p:cNvGrpSpPr>
            <a:grpSpLocks/>
          </p:cNvGrpSpPr>
          <p:nvPr/>
        </p:nvGrpSpPr>
        <p:grpSpPr bwMode="auto">
          <a:xfrm>
            <a:off x="1594485" y="2013109"/>
            <a:ext cx="1190149" cy="360045"/>
            <a:chOff x="888729" y="1815138"/>
            <a:chExt cx="2117188" cy="641976"/>
          </a:xfrm>
        </p:grpSpPr>
        <p:sp>
          <p:nvSpPr>
            <p:cNvPr id="97301" name="Rectangle 8">
              <a:extLst>
                <a:ext uri="{FF2B5EF4-FFF2-40B4-BE49-F238E27FC236}">
                  <a16:creationId xmlns:a16="http://schemas.microsoft.com/office/drawing/2014/main" id="{098B1DC5-F170-4677-A1D4-3EE27FE7A224}"/>
                </a:ext>
              </a:extLst>
            </p:cNvPr>
            <p:cNvSpPr>
              <a:spLocks noChangeArrowheads="1"/>
            </p:cNvSpPr>
            <p:nvPr/>
          </p:nvSpPr>
          <p:spPr bwMode="auto">
            <a:xfrm>
              <a:off x="1478390" y="1815138"/>
              <a:ext cx="1527527" cy="411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基金来源</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DCDE775F-9C82-8347-B030-462F742266E1}"/>
                </a:ext>
              </a:extLst>
            </p:cNvPr>
            <p:cNvPicPr>
              <a:picLocks noChangeAspect="1"/>
            </p:cNvPicPr>
            <p:nvPr/>
          </p:nvPicPr>
          <p:blipFill>
            <a:blip r:embed="rId3">
              <a:duotone>
                <a:schemeClr val="accent1">
                  <a:shade val="45000"/>
                  <a:satMod val="135000"/>
                </a:schemeClr>
                <a:prstClr val="white"/>
              </a:duotone>
            </a:blip>
            <a:stretch>
              <a:fillRect/>
            </a:stretch>
          </p:blipFill>
          <p:spPr>
            <a:xfrm>
              <a:off x="888729" y="1866813"/>
              <a:ext cx="590300" cy="590301"/>
            </a:xfrm>
            <a:prstGeom prst="rect">
              <a:avLst/>
            </a:prstGeom>
          </p:spPr>
        </p:pic>
      </p:grpSp>
      <p:grpSp>
        <p:nvGrpSpPr>
          <p:cNvPr id="25" name="Group 24">
            <a:extLst>
              <a:ext uri="{FF2B5EF4-FFF2-40B4-BE49-F238E27FC236}">
                <a16:creationId xmlns:a16="http://schemas.microsoft.com/office/drawing/2014/main" id="{44AF80DF-1A5A-477F-8C70-B84F63EA7567}"/>
              </a:ext>
            </a:extLst>
          </p:cNvPr>
          <p:cNvGrpSpPr>
            <a:grpSpLocks/>
          </p:cNvGrpSpPr>
          <p:nvPr/>
        </p:nvGrpSpPr>
        <p:grpSpPr bwMode="auto">
          <a:xfrm>
            <a:off x="1141583" y="2476169"/>
            <a:ext cx="6858001" cy="1930242"/>
            <a:chOff x="1844973" y="3102307"/>
            <a:chExt cx="5051723" cy="1120129"/>
          </a:xfrm>
        </p:grpSpPr>
        <p:pic>
          <p:nvPicPr>
            <p:cNvPr id="97298" name="Picture 10">
              <a:extLst>
                <a:ext uri="{FF2B5EF4-FFF2-40B4-BE49-F238E27FC236}">
                  <a16:creationId xmlns:a16="http://schemas.microsoft.com/office/drawing/2014/main" id="{6F873281-6927-4009-8009-18DB54E8AF3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0725" y="3102307"/>
              <a:ext cx="1497639" cy="110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99" name="Picture 11">
              <a:extLst>
                <a:ext uri="{FF2B5EF4-FFF2-40B4-BE49-F238E27FC236}">
                  <a16:creationId xmlns:a16="http://schemas.microsoft.com/office/drawing/2014/main" id="{BD343345-71B2-4B82-9025-65AD9B5398A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2991" y="3104936"/>
              <a:ext cx="1513705" cy="11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300" name="Picture 12">
              <a:extLst>
                <a:ext uri="{FF2B5EF4-FFF2-40B4-BE49-F238E27FC236}">
                  <a16:creationId xmlns:a16="http://schemas.microsoft.com/office/drawing/2014/main" id="{1DBA2560-CFF1-4085-A57C-5169CEE812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44973" y="3119820"/>
              <a:ext cx="1491125" cy="109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7288" name="Picture 2" descr="C:\Users\fells\AppData\Local\Temp\SNAGHTML1f40d37c.PNG">
            <a:extLst>
              <a:ext uri="{FF2B5EF4-FFF2-40B4-BE49-F238E27FC236}">
                <a16:creationId xmlns:a16="http://schemas.microsoft.com/office/drawing/2014/main" id="{94520697-44E6-4CB6-B532-75CD5C324C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1980" y="-1225868"/>
            <a:ext cx="545783" cy="4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a:extLst>
              <a:ext uri="{FF2B5EF4-FFF2-40B4-BE49-F238E27FC236}">
                <a16:creationId xmlns:a16="http://schemas.microsoft.com/office/drawing/2014/main" id="{59C157BE-0239-4457-9E66-70356F694DBE}"/>
              </a:ext>
            </a:extLst>
          </p:cNvPr>
          <p:cNvGrpSpPr>
            <a:grpSpLocks/>
          </p:cNvGrpSpPr>
          <p:nvPr/>
        </p:nvGrpSpPr>
        <p:grpSpPr bwMode="auto">
          <a:xfrm>
            <a:off x="4411980" y="2027397"/>
            <a:ext cx="1535907" cy="352901"/>
            <a:chOff x="1379274" y="3413143"/>
            <a:chExt cx="2729410" cy="626225"/>
          </a:xfrm>
        </p:grpSpPr>
        <p:pic>
          <p:nvPicPr>
            <p:cNvPr id="19" name="Picture 18">
              <a:extLst>
                <a:ext uri="{FF2B5EF4-FFF2-40B4-BE49-F238E27FC236}">
                  <a16:creationId xmlns:a16="http://schemas.microsoft.com/office/drawing/2014/main" id="{7F1C8BA3-1C37-AF45-9008-9A3218232AD0}"/>
                </a:ext>
              </a:extLst>
            </p:cNvPr>
            <p:cNvPicPr>
              <a:picLocks noChangeAspect="1"/>
            </p:cNvPicPr>
            <p:nvPr/>
          </p:nvPicPr>
          <p:blipFill>
            <a:blip r:embed="rId8">
              <a:duotone>
                <a:schemeClr val="accent1">
                  <a:shade val="45000"/>
                  <a:satMod val="135000"/>
                </a:schemeClr>
                <a:prstClr val="white"/>
              </a:duotone>
            </a:blip>
            <a:stretch>
              <a:fillRect/>
            </a:stretch>
          </p:blipFill>
          <p:spPr>
            <a:xfrm>
              <a:off x="1379274" y="3459114"/>
              <a:ext cx="580254" cy="580254"/>
            </a:xfrm>
            <a:prstGeom prst="rect">
              <a:avLst/>
            </a:prstGeom>
          </p:spPr>
        </p:pic>
        <p:sp>
          <p:nvSpPr>
            <p:cNvPr id="97297" name="Rectangle 19">
              <a:extLst>
                <a:ext uri="{FF2B5EF4-FFF2-40B4-BE49-F238E27FC236}">
                  <a16:creationId xmlns:a16="http://schemas.microsoft.com/office/drawing/2014/main" id="{3A3EF643-A2E0-46DA-B24D-BA86404AA725}"/>
                </a:ext>
              </a:extLst>
            </p:cNvPr>
            <p:cNvSpPr>
              <a:spLocks noChangeArrowheads="1"/>
            </p:cNvSpPr>
            <p:nvPr/>
          </p:nvSpPr>
          <p:spPr bwMode="auto">
            <a:xfrm>
              <a:off x="2090190" y="3413143"/>
              <a:ext cx="2018494" cy="4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主要科学家</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grpSp>
      <p:grpSp>
        <p:nvGrpSpPr>
          <p:cNvPr id="21" name="Group 20">
            <a:extLst>
              <a:ext uri="{FF2B5EF4-FFF2-40B4-BE49-F238E27FC236}">
                <a16:creationId xmlns:a16="http://schemas.microsoft.com/office/drawing/2014/main" id="{C61EAC18-CFBA-418E-A719-AA1704DA193D}"/>
              </a:ext>
            </a:extLst>
          </p:cNvPr>
          <p:cNvGrpSpPr>
            <a:grpSpLocks/>
          </p:cNvGrpSpPr>
          <p:nvPr/>
        </p:nvGrpSpPr>
        <p:grpSpPr bwMode="auto">
          <a:xfrm>
            <a:off x="6187917" y="2020253"/>
            <a:ext cx="1591628" cy="298609"/>
            <a:chOff x="8492693" y="2421226"/>
            <a:chExt cx="2829243" cy="532608"/>
          </a:xfrm>
        </p:grpSpPr>
        <p:pic>
          <p:nvPicPr>
            <p:cNvPr id="22" name="Picture 2" descr="Image result for graph icon">
              <a:extLst>
                <a:ext uri="{FF2B5EF4-FFF2-40B4-BE49-F238E27FC236}">
                  <a16:creationId xmlns:a16="http://schemas.microsoft.com/office/drawing/2014/main" id="{DD1BD572-8D11-CF46-8CC8-7FD61037993F}"/>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92693" y="2502228"/>
              <a:ext cx="451605" cy="451606"/>
            </a:xfrm>
            <a:prstGeom prst="rect">
              <a:avLst/>
            </a:prstGeom>
            <a:noFill/>
            <a:extLst>
              <a:ext uri="{909E8E84-426E-40DD-AFC4-6F175D3DCCD1}">
                <a14:hiddenFill xmlns:a14="http://schemas.microsoft.com/office/drawing/2010/main">
                  <a:solidFill>
                    <a:srgbClr val="FFFFFF"/>
                  </a:solidFill>
                </a14:hiddenFill>
              </a:ext>
            </a:extLst>
          </p:spPr>
        </p:pic>
        <p:sp>
          <p:nvSpPr>
            <p:cNvPr id="97295" name="Rectangle 22">
              <a:extLst>
                <a:ext uri="{FF2B5EF4-FFF2-40B4-BE49-F238E27FC236}">
                  <a16:creationId xmlns:a16="http://schemas.microsoft.com/office/drawing/2014/main" id="{FA553ED6-12E4-468E-AA1A-60F14C948064}"/>
                </a:ext>
              </a:extLst>
            </p:cNvPr>
            <p:cNvSpPr>
              <a:spLocks noChangeArrowheads="1"/>
            </p:cNvSpPr>
            <p:nvPr/>
          </p:nvSpPr>
          <p:spPr bwMode="auto">
            <a:xfrm>
              <a:off x="9104765" y="2421226"/>
              <a:ext cx="2217171" cy="411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最强学科</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grpSp>
      <p:grpSp>
        <p:nvGrpSpPr>
          <p:cNvPr id="27" name="Group 26">
            <a:extLst>
              <a:ext uri="{FF2B5EF4-FFF2-40B4-BE49-F238E27FC236}">
                <a16:creationId xmlns:a16="http://schemas.microsoft.com/office/drawing/2014/main" id="{5B8AD950-EA4B-4D84-9F42-524A37DB323C}"/>
              </a:ext>
            </a:extLst>
          </p:cNvPr>
          <p:cNvGrpSpPr>
            <a:grpSpLocks/>
          </p:cNvGrpSpPr>
          <p:nvPr/>
        </p:nvGrpSpPr>
        <p:grpSpPr bwMode="auto">
          <a:xfrm>
            <a:off x="3026093" y="2045970"/>
            <a:ext cx="1251585" cy="284322"/>
            <a:chOff x="2509908" y="1871067"/>
            <a:chExt cx="1668899" cy="379216"/>
          </a:xfrm>
        </p:grpSpPr>
        <p:sp>
          <p:nvSpPr>
            <p:cNvPr id="97292" name="Rectangle 16">
              <a:extLst>
                <a:ext uri="{FF2B5EF4-FFF2-40B4-BE49-F238E27FC236}">
                  <a16:creationId xmlns:a16="http://schemas.microsoft.com/office/drawing/2014/main" id="{703C6455-844F-4C12-AEEB-C1C0180DE319}"/>
                </a:ext>
              </a:extLst>
            </p:cNvPr>
            <p:cNvSpPr>
              <a:spLocks noChangeArrowheads="1"/>
            </p:cNvSpPr>
            <p:nvPr/>
          </p:nvSpPr>
          <p:spPr bwMode="auto">
            <a:xfrm>
              <a:off x="2881410" y="1871067"/>
              <a:ext cx="1297397" cy="307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出版去向</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pic>
          <p:nvPicPr>
            <p:cNvPr id="26" name="Picture 25">
              <a:extLst>
                <a:ext uri="{FF2B5EF4-FFF2-40B4-BE49-F238E27FC236}">
                  <a16:creationId xmlns:a16="http://schemas.microsoft.com/office/drawing/2014/main" id="{386ABB29-0380-E747-8ECE-AE5BC879ECAB}"/>
                </a:ext>
              </a:extLst>
            </p:cNvPr>
            <p:cNvPicPr>
              <a:picLocks noChangeAspect="1"/>
            </p:cNvPicPr>
            <p:nvPr/>
          </p:nvPicPr>
          <p:blipFill>
            <a:blip r:embed="rId10">
              <a:duotone>
                <a:schemeClr val="accent1">
                  <a:shade val="45000"/>
                  <a:satMod val="135000"/>
                </a:schemeClr>
                <a:prstClr val="white"/>
              </a:duotone>
            </a:blip>
            <a:stretch>
              <a:fillRect/>
            </a:stretch>
          </p:blipFill>
          <p:spPr>
            <a:xfrm>
              <a:off x="2509908" y="1900467"/>
              <a:ext cx="324829" cy="349816"/>
            </a:xfrm>
            <a:prstGeom prst="rect">
              <a:avLst/>
            </a:prstGeom>
          </p:spPr>
        </p:pic>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par>
                          <p:cTn id="8" fill="hold" nodeType="afterGroup">
                            <p:stCondLst>
                              <p:cond delay="1500"/>
                            </p:stCondLst>
                            <p:childTnLst>
                              <p:par>
                                <p:cTn id="9" presetID="10" presetClass="entr" presetSubtype="0" fill="hold" nodeType="after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par>
                                <p:cTn id="12" presetID="10" presetClass="entr" presetSubtype="0" fill="hold" nodeType="withEffect">
                                  <p:stCondLst>
                                    <p:cond delay="100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childTnLst>
                                </p:cTn>
                              </p:par>
                              <p:par>
                                <p:cTn id="15" presetID="10" presetClass="entr" presetSubtype="0" fill="hold" nodeType="withEffect">
                                  <p:stCondLst>
                                    <p:cond delay="1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childTnLst>
                                </p:cTn>
                              </p:par>
                              <p:par>
                                <p:cTn id="18" presetID="10" presetClass="entr" presetSubtype="0" fill="hold" nodeType="withEffect">
                                  <p:stCondLst>
                                    <p:cond delay="20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000"/>
                                        <p:tgtEl>
                                          <p:spTgt spid="21"/>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AB1013-2E7A-4DFA-A2D0-30576341BAB9}"/>
              </a:ext>
            </a:extLst>
          </p:cNvPr>
          <p:cNvPicPr>
            <a:picLocks noChangeAspect="1"/>
          </p:cNvPicPr>
          <p:nvPr/>
        </p:nvPicPr>
        <p:blipFill>
          <a:blip r:embed="rId2"/>
          <a:stretch>
            <a:fillRect/>
          </a:stretch>
        </p:blipFill>
        <p:spPr>
          <a:xfrm>
            <a:off x="809626" y="122945"/>
            <a:ext cx="7266291" cy="4302162"/>
          </a:xfrm>
          <a:prstGeom prst="rect">
            <a:avLst/>
          </a:prstGeom>
        </p:spPr>
      </p:pic>
    </p:spTree>
    <p:extLst>
      <p:ext uri="{BB962C8B-B14F-4D97-AF65-F5344CB8AC3E}">
        <p14:creationId xmlns:p14="http://schemas.microsoft.com/office/powerpoint/2010/main" val="139040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F101B6-31C7-4245-84D5-6444AF078C22}"/>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60</a:t>
            </a:fld>
            <a:endParaRPr lang="en-US" altLang="zh-CN" dirty="0"/>
          </a:p>
        </p:txBody>
      </p:sp>
      <p:pic>
        <p:nvPicPr>
          <p:cNvPr id="99331" name="Picture 3">
            <a:extLst>
              <a:ext uri="{FF2B5EF4-FFF2-40B4-BE49-F238E27FC236}">
                <a16:creationId xmlns:a16="http://schemas.microsoft.com/office/drawing/2014/main" id="{A714FF71-6B5C-4C03-BF63-101716BB70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8702" y="289004"/>
            <a:ext cx="7046595" cy="430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354" name="標題 3">
            <a:extLst>
              <a:ext uri="{FF2B5EF4-FFF2-40B4-BE49-F238E27FC236}">
                <a16:creationId xmlns:a16="http://schemas.microsoft.com/office/drawing/2014/main" id="{37B6402E-EEF9-47E7-AF74-780A8A11335A}"/>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113666" name="標題 4">
            <a:extLst>
              <a:ext uri="{FF2B5EF4-FFF2-40B4-BE49-F238E27FC236}">
                <a16:creationId xmlns:a16="http://schemas.microsoft.com/office/drawing/2014/main" id="{4378D879-530C-41AF-A900-D4BF8B5CC93D}"/>
              </a:ext>
            </a:extLst>
          </p:cNvPr>
          <p:cNvSpPr txBox="1">
            <a:spLocks/>
          </p:cNvSpPr>
          <p:nvPr/>
        </p:nvSpPr>
        <p:spPr bwMode="auto">
          <a:xfrm>
            <a:off x="1573054" y="3171825"/>
            <a:ext cx="6067901" cy="1697901"/>
          </a:xfrm>
          <a:prstGeom prst="rect">
            <a:avLst/>
          </a:prstGeom>
          <a:noFill/>
          <a:ln w="9525">
            <a:noFill/>
            <a:miter lim="800000"/>
            <a:headEnd/>
            <a:tailEnd/>
          </a:ln>
        </p:spPr>
        <p:txBody>
          <a:bodyPr lIns="0" rIns="0">
            <a:spAutoFit/>
          </a:bodyPr>
          <a:lstStyle/>
          <a:p>
            <a:pPr defTabSz="320954">
              <a:defRPr/>
            </a:pPr>
            <a:r>
              <a:rPr lang="en-US" altLang="zh-CN" sz="2400" b="1" dirty="0">
                <a:solidFill>
                  <a:srgbClr val="003C79"/>
                </a:solidFill>
                <a:latin typeface="Calibri" pitchFamily="34" charset="0"/>
                <a:ea typeface="PMingLiU-ExtB" pitchFamily="18" charset="-120"/>
              </a:rPr>
              <a:t>2020</a:t>
            </a:r>
            <a:r>
              <a:rPr lang="zh-CN" altLang="en-US" sz="2400" b="1" dirty="0">
                <a:solidFill>
                  <a:srgbClr val="003C79"/>
                </a:solidFill>
                <a:latin typeface="Calibri" pitchFamily="34" charset="0"/>
                <a:ea typeface="PMingLiU-ExtB" pitchFamily="18" charset="-120"/>
              </a:rPr>
              <a:t>年新功能</a:t>
            </a:r>
            <a:endParaRPr lang="en-US" altLang="zh-CN" sz="2400" b="1" dirty="0">
              <a:solidFill>
                <a:srgbClr val="003C79"/>
              </a:solidFill>
              <a:latin typeface="Calibri" pitchFamily="34" charset="0"/>
              <a:ea typeface="PMingLiU-ExtB" pitchFamily="18" charset="-120"/>
            </a:endParaRPr>
          </a:p>
          <a:p>
            <a:pPr marL="320954" lvl="1" indent="-115729" defTabSz="320954">
              <a:spcBef>
                <a:spcPts val="540"/>
              </a:spcBef>
              <a:buFont typeface="Arial" charset="0"/>
              <a:buChar char="•"/>
              <a:defRPr/>
            </a:pPr>
            <a:r>
              <a:rPr lang="zh-CN" altLang="en-US" sz="2400" b="1" dirty="0">
                <a:solidFill>
                  <a:srgbClr val="003C79"/>
                </a:solidFill>
                <a:latin typeface="Calibri" pitchFamily="34" charset="0"/>
              </a:rPr>
              <a:t>作者和机构检索 </a:t>
            </a:r>
            <a:r>
              <a:rPr lang="en-US" altLang="zh-CN" sz="2400" b="1" dirty="0">
                <a:solidFill>
                  <a:srgbClr val="003C79"/>
                </a:solidFill>
                <a:latin typeface="Calibri" pitchFamily="34" charset="0"/>
              </a:rPr>
              <a:t>Author &amp; Affiliation Search</a:t>
            </a:r>
            <a:endParaRPr lang="en-US" altLang="zh-CN" sz="2400" b="1" dirty="0">
              <a:solidFill>
                <a:srgbClr val="003C79"/>
              </a:solidFill>
              <a:latin typeface="Calibri" pitchFamily="34" charset="0"/>
              <a:ea typeface="PMingLiU-ExtB" pitchFamily="18" charset="-120"/>
            </a:endParaRPr>
          </a:p>
          <a:p>
            <a:pPr marL="320954" lvl="1" indent="-115729" defTabSz="320954">
              <a:spcBef>
                <a:spcPts val="540"/>
              </a:spcBef>
              <a:buFont typeface="Arial" charset="0"/>
              <a:buChar char="•"/>
              <a:defRPr/>
            </a:pPr>
            <a:r>
              <a:rPr lang="zh-CN" altLang="en-US" sz="2400" b="1" dirty="0">
                <a:solidFill>
                  <a:srgbClr val="003C79"/>
                </a:solidFill>
                <a:latin typeface="Calibri" pitchFamily="34" charset="0"/>
              </a:rPr>
              <a:t>下载限制放宽</a:t>
            </a:r>
            <a:endParaRPr lang="en-US" sz="2400" b="1" dirty="0">
              <a:solidFill>
                <a:srgbClr val="003C79"/>
              </a:solidFill>
              <a:latin typeface="Calibri" pitchFamily="34" charset="0"/>
            </a:endParaRPr>
          </a:p>
          <a:p>
            <a:pPr marL="320954" lvl="1" defTabSz="320954">
              <a:defRPr/>
            </a:pPr>
            <a:endParaRPr lang="zh-TW" altLang="en-US" sz="2400" b="1" dirty="0">
              <a:solidFill>
                <a:srgbClr val="003C79"/>
              </a:solidFill>
              <a:latin typeface="Calibri" pitchFamily="34" charset="0"/>
              <a:ea typeface="PMingLiU-ExtB" pitchFamily="18" charset="-120"/>
            </a:endParaRPr>
          </a:p>
        </p:txBody>
      </p:sp>
      <p:pic>
        <p:nvPicPr>
          <p:cNvPr id="100356" name="Picture 2">
            <a:extLst>
              <a:ext uri="{FF2B5EF4-FFF2-40B4-BE49-F238E27FC236}">
                <a16:creationId xmlns:a16="http://schemas.microsoft.com/office/drawing/2014/main" id="{37268E83-8BE0-45D8-B648-9B46B6D9A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327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57" name="Picture 3" descr="C:\Users\LiuK002\Desktop\Elsevier related\Elsevier pictures\EV\EV_6.bmp">
            <a:extLst>
              <a:ext uri="{FF2B5EF4-FFF2-40B4-BE49-F238E27FC236}">
                <a16:creationId xmlns:a16="http://schemas.microsoft.com/office/drawing/2014/main" id="{FCB538C6-B2CF-4268-ADB6-A17E3C7250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0369" y="3007531"/>
            <a:ext cx="828675" cy="80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9F06B-AB96-47A1-A59F-3046AF3EA1A4}"/>
              </a:ext>
            </a:extLst>
          </p:cNvPr>
          <p:cNvSpPr>
            <a:spLocks noGrp="1"/>
          </p:cNvSpPr>
          <p:nvPr>
            <p:ph type="title"/>
          </p:nvPr>
        </p:nvSpPr>
        <p:spPr>
          <a:xfrm>
            <a:off x="1331595" y="420053"/>
            <a:ext cx="6177915" cy="314325"/>
          </a:xfrm>
        </p:spPr>
        <p:txBody>
          <a:bodyPr rtlCol="0">
            <a:noAutofit/>
          </a:bodyPr>
          <a:lstStyle/>
          <a:p>
            <a:pPr defTabSz="342887">
              <a:defRPr/>
            </a:pPr>
            <a:r>
              <a:rPr lang="zh-CN" altLang="en-US" sz="1500" dirty="0"/>
              <a:t>机构检索</a:t>
            </a:r>
            <a:endParaRPr lang="en-US" sz="1500" dirty="0"/>
          </a:p>
        </p:txBody>
      </p:sp>
      <p:sp>
        <p:nvSpPr>
          <p:cNvPr id="3" name="Slide Number Placeholder 2">
            <a:extLst>
              <a:ext uri="{FF2B5EF4-FFF2-40B4-BE49-F238E27FC236}">
                <a16:creationId xmlns:a16="http://schemas.microsoft.com/office/drawing/2014/main" id="{5437434F-2051-4131-8F1C-20E8EE030594}"/>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62</a:t>
            </a:fld>
            <a:endParaRPr lang="en-US" altLang="zh-CN"/>
          </a:p>
        </p:txBody>
      </p:sp>
      <p:pic>
        <p:nvPicPr>
          <p:cNvPr id="102404" name="Picture 3">
            <a:extLst>
              <a:ext uri="{FF2B5EF4-FFF2-40B4-BE49-F238E27FC236}">
                <a16:creationId xmlns:a16="http://schemas.microsoft.com/office/drawing/2014/main" id="{BA897148-F5D2-4BFC-A0D4-AFAC0882ED0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8728" y="1118515"/>
            <a:ext cx="6405087"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C:\Users\fells\AppData\Local\Temp\SNAGHTML5202681d.PNG">
            <a:extLst>
              <a:ext uri="{FF2B5EF4-FFF2-40B4-BE49-F238E27FC236}">
                <a16:creationId xmlns:a16="http://schemas.microsoft.com/office/drawing/2014/main" id="{80A341A5-6411-42B7-BB35-C6C3736D8946}"/>
              </a:ext>
            </a:extLst>
          </p:cNvPr>
          <p:cNvPicPr>
            <a:picLocks noChangeAspect="1" noChangeArrowheads="1"/>
          </p:cNvPicPr>
          <p:nvPr/>
        </p:nvPicPr>
        <p:blipFill>
          <a:blip r:embed="rId3" cstate="print">
            <a:clrChange>
              <a:clrFrom>
                <a:srgbClr val="FEFEFE"/>
              </a:clrFrom>
              <a:clrTo>
                <a:srgbClr val="FEFEFE">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41717" y="2943950"/>
            <a:ext cx="999695" cy="747892"/>
          </a:xfrm>
          <a:prstGeom prst="rect">
            <a:avLst/>
          </a:prstGeom>
          <a:noFill/>
          <a:extLst>
            <a:ext uri="{909E8E84-426E-40DD-AFC4-6F175D3DCCD1}">
              <a14:hiddenFill xmlns:a14="http://schemas.microsoft.com/office/drawing/2010/main">
                <a:solidFill>
                  <a:srgbClr val="FFFFFF"/>
                </a:solidFill>
              </a14:hiddenFill>
            </a:ext>
          </a:extLst>
        </p:spPr>
      </p:pic>
      <p:sp>
        <p:nvSpPr>
          <p:cNvPr id="102406" name="Rectangle 5">
            <a:extLst>
              <a:ext uri="{FF2B5EF4-FFF2-40B4-BE49-F238E27FC236}">
                <a16:creationId xmlns:a16="http://schemas.microsoft.com/office/drawing/2014/main" id="{DABC2CA0-3CE8-4E6B-839B-0FC3DBEBC51B}"/>
              </a:ext>
            </a:extLst>
          </p:cNvPr>
          <p:cNvSpPr>
            <a:spLocks noChangeArrowheads="1"/>
          </p:cNvSpPr>
          <p:nvPr/>
        </p:nvSpPr>
        <p:spPr bwMode="auto">
          <a:xfrm>
            <a:off x="1258669" y="804583"/>
            <a:ext cx="328808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742950" indent="-28575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11430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6002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20574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5146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9718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4290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8862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a:spcBef>
                <a:spcPct val="0"/>
              </a:spcBef>
              <a:spcAft>
                <a:spcPts val="900"/>
              </a:spcAft>
              <a:buNone/>
            </a:pPr>
            <a:r>
              <a:rPr lang="zh-CN" altLang="en-US" sz="1440" b="1" dirty="0">
                <a:ea typeface="MS PGothic" panose="020B0600070205080204" pitchFamily="34" charset="-128"/>
                <a:sym typeface="Arial" panose="020B0604020202020204" pitchFamily="34" charset="0"/>
              </a:rPr>
              <a:t>基于</a:t>
            </a:r>
            <a:r>
              <a:rPr lang="en-US" altLang="zh-CN" sz="1440" b="1" dirty="0">
                <a:ea typeface="MS PGothic" panose="020B0600070205080204" pitchFamily="34" charset="-128"/>
                <a:sym typeface="Arial" panose="020B0604020202020204" pitchFamily="34" charset="0"/>
              </a:rPr>
              <a:t>Institution ID</a:t>
            </a:r>
            <a:r>
              <a:rPr lang="zh-CN" altLang="en-US" sz="1440" b="1" dirty="0">
                <a:ea typeface="MS PGothic" panose="020B0600070205080204" pitchFamily="34" charset="-128"/>
                <a:sym typeface="Arial" panose="020B0604020202020204" pitchFamily="34" charset="0"/>
              </a:rPr>
              <a:t>的检索，提升查准性</a:t>
            </a:r>
            <a:endParaRPr lang="en-US" altLang="zh-CN" sz="1440" b="1" dirty="0">
              <a:ea typeface="MS PGothic" panose="020B0600070205080204" pitchFamily="34" charset="-128"/>
              <a:sym typeface="Arial" panose="020B0604020202020204" pitchFamily="34" charset="0"/>
            </a:endParaRPr>
          </a:p>
        </p:txBody>
      </p:sp>
    </p:spTree>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79F1D-E2FE-4F3E-A832-EF8D37315F53}"/>
              </a:ext>
            </a:extLst>
          </p:cNvPr>
          <p:cNvSpPr>
            <a:spLocks noGrp="1"/>
          </p:cNvSpPr>
          <p:nvPr>
            <p:ph type="title"/>
          </p:nvPr>
        </p:nvSpPr>
        <p:spPr>
          <a:xfrm>
            <a:off x="1303020" y="412909"/>
            <a:ext cx="6179344" cy="314325"/>
          </a:xfrm>
        </p:spPr>
        <p:txBody>
          <a:bodyPr rtlCol="0">
            <a:noAutofit/>
          </a:bodyPr>
          <a:lstStyle/>
          <a:p>
            <a:pPr defTabSz="342887">
              <a:defRPr/>
            </a:pPr>
            <a:r>
              <a:rPr lang="zh-CN" altLang="en-US" sz="1500" dirty="0"/>
              <a:t>作者检索</a:t>
            </a:r>
            <a:endParaRPr lang="en-US" sz="1500" dirty="0"/>
          </a:p>
        </p:txBody>
      </p:sp>
      <p:sp>
        <p:nvSpPr>
          <p:cNvPr id="3" name="Slide Number Placeholder 2">
            <a:extLst>
              <a:ext uri="{FF2B5EF4-FFF2-40B4-BE49-F238E27FC236}">
                <a16:creationId xmlns:a16="http://schemas.microsoft.com/office/drawing/2014/main" id="{0B55F3A4-4107-4232-9527-00B1EC2EB15A}"/>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63</a:t>
            </a:fld>
            <a:endParaRPr lang="en-US" altLang="zh-CN"/>
          </a:p>
        </p:txBody>
      </p:sp>
      <p:pic>
        <p:nvPicPr>
          <p:cNvPr id="103428" name="Picture 4">
            <a:extLst>
              <a:ext uri="{FF2B5EF4-FFF2-40B4-BE49-F238E27FC236}">
                <a16:creationId xmlns:a16="http://schemas.microsoft.com/office/drawing/2014/main" id="{0F4C3131-0290-437D-9EE1-F2998E89035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1600" y="1474470"/>
            <a:ext cx="6415088" cy="2904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C:\Users\fells\AppData\Local\Temp\SNAGHTML5202681d.PNG">
            <a:extLst>
              <a:ext uri="{FF2B5EF4-FFF2-40B4-BE49-F238E27FC236}">
                <a16:creationId xmlns:a16="http://schemas.microsoft.com/office/drawing/2014/main" id="{BC2C2C1C-CCBD-4EA3-94C0-8480DDA0484F}"/>
              </a:ext>
            </a:extLst>
          </p:cNvPr>
          <p:cNvPicPr>
            <a:picLocks noChangeAspect="1" noChangeArrowheads="1"/>
          </p:cNvPicPr>
          <p:nvPr/>
        </p:nvPicPr>
        <p:blipFill>
          <a:blip r:embed="rId3" cstate="print">
            <a:clrChange>
              <a:clrFrom>
                <a:srgbClr val="FEFEFE"/>
              </a:clrFrom>
              <a:clrTo>
                <a:srgbClr val="FEFEFE">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41717" y="2943950"/>
            <a:ext cx="999695" cy="747892"/>
          </a:xfrm>
          <a:prstGeom prst="rect">
            <a:avLst/>
          </a:prstGeom>
          <a:noFill/>
          <a:extLst>
            <a:ext uri="{909E8E84-426E-40DD-AFC4-6F175D3DCCD1}">
              <a14:hiddenFill xmlns:a14="http://schemas.microsoft.com/office/drawing/2010/main">
                <a:solidFill>
                  <a:srgbClr val="FFFFFF"/>
                </a:solidFill>
              </a14:hiddenFill>
            </a:ext>
          </a:extLst>
        </p:spPr>
      </p:pic>
      <p:sp>
        <p:nvSpPr>
          <p:cNvPr id="103430" name="TextBox 6">
            <a:extLst>
              <a:ext uri="{FF2B5EF4-FFF2-40B4-BE49-F238E27FC236}">
                <a16:creationId xmlns:a16="http://schemas.microsoft.com/office/drawing/2014/main" id="{D68653CD-4604-459B-8D1E-ED0EBBCDD029}"/>
              </a:ext>
            </a:extLst>
          </p:cNvPr>
          <p:cNvSpPr txBox="1">
            <a:spLocks noChangeArrowheads="1"/>
          </p:cNvSpPr>
          <p:nvPr/>
        </p:nvSpPr>
        <p:spPr bwMode="auto">
          <a:xfrm>
            <a:off x="1323023" y="924402"/>
            <a:ext cx="6497955"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742950" indent="-28575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11430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6002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20574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5146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9718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4290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8862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a:spcBef>
                <a:spcPct val="0"/>
              </a:spcBef>
              <a:spcAft>
                <a:spcPts val="900"/>
              </a:spcAft>
              <a:buNone/>
            </a:pPr>
            <a:r>
              <a:rPr lang="zh-CN" altLang="en-US" sz="1800" b="1">
                <a:ea typeface="MS PGothic" panose="020B0600070205080204" pitchFamily="34" charset="-128"/>
                <a:sym typeface="Arial" panose="020B0604020202020204" pitchFamily="34" charset="0"/>
              </a:rPr>
              <a:t>基于</a:t>
            </a:r>
            <a:r>
              <a:rPr lang="en-US" altLang="zh-CN" sz="1800" b="1">
                <a:ea typeface="MS PGothic" panose="020B0600070205080204" pitchFamily="34" charset="-128"/>
                <a:sym typeface="Arial" panose="020B0604020202020204" pitchFamily="34" charset="0"/>
              </a:rPr>
              <a:t>ORCID</a:t>
            </a:r>
            <a:r>
              <a:rPr lang="zh-CN" altLang="en-US" sz="1800" b="1">
                <a:ea typeface="MS PGothic" panose="020B0600070205080204" pitchFamily="34" charset="-128"/>
                <a:sym typeface="Arial" panose="020B0604020202020204" pitchFamily="34" charset="0"/>
              </a:rPr>
              <a:t>的检索，提升查准性</a:t>
            </a:r>
            <a:endParaRPr lang="en-US" altLang="zh-CN" sz="1800" b="1">
              <a:ea typeface="MS PGothic" panose="020B0600070205080204" pitchFamily="34" charset="-128"/>
              <a:sym typeface="Arial" panose="020B0604020202020204" pitchFamily="34" charset="0"/>
            </a:endParaRPr>
          </a:p>
          <a:p>
            <a:pPr>
              <a:spcBef>
                <a:spcPct val="0"/>
              </a:spcBef>
              <a:spcAft>
                <a:spcPts val="450"/>
              </a:spcAft>
              <a:buNone/>
            </a:pPr>
            <a:endParaRPr lang="en-US" altLang="en-US" sz="900">
              <a:ea typeface="MS PGothic" panose="020B0600070205080204" pitchFamily="34" charset="-128"/>
              <a:sym typeface="Arial" panose="020B0604020202020204" pitchFamily="34" charset="0"/>
            </a:endParaRPr>
          </a:p>
        </p:txBody>
      </p:sp>
    </p:spTree>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標題 1">
            <a:extLst>
              <a:ext uri="{FF2B5EF4-FFF2-40B4-BE49-F238E27FC236}">
                <a16:creationId xmlns:a16="http://schemas.microsoft.com/office/drawing/2014/main" id="{74CE2349-4D46-42BD-91D0-0C7C8AA55C32}"/>
              </a:ext>
            </a:extLst>
          </p:cNvPr>
          <p:cNvSpPr>
            <a:spLocks noGrp="1"/>
          </p:cNvSpPr>
          <p:nvPr>
            <p:ph type="title" idx="4294967295"/>
          </p:nvPr>
        </p:nvSpPr>
        <p:spPr>
          <a:xfrm>
            <a:off x="1375887" y="450057"/>
            <a:ext cx="6625113" cy="434340"/>
          </a:xfrm>
        </p:spPr>
        <p:txBody>
          <a:bodyPr rtlCol="0">
            <a:noAutofit/>
          </a:bodyPr>
          <a:lstStyle/>
          <a:p>
            <a:pPr defTabSz="342887">
              <a:defRPr/>
            </a:pPr>
            <a:r>
              <a:rPr lang="en-US" altLang="zh-TW" sz="2400">
                <a:latin typeface="Calibri" pitchFamily="34" charset="0"/>
                <a:ea typeface="PMingLiU-ExtB" pitchFamily="18" charset="-120"/>
              </a:rPr>
              <a:t>EV</a:t>
            </a:r>
            <a:r>
              <a:rPr lang="zh-TW" altLang="en-US" sz="2400">
                <a:latin typeface="Calibri" pitchFamily="34" charset="0"/>
                <a:ea typeface="PMingLiU-ExtB" pitchFamily="18" charset="-120"/>
              </a:rPr>
              <a:t>特色</a:t>
            </a:r>
            <a:endParaRPr lang="zh-CN" altLang="en-US" sz="2400">
              <a:latin typeface="Calibri" pitchFamily="34" charset="0"/>
              <a:ea typeface="PMingLiU-ExtB" pitchFamily="18" charset="-120"/>
            </a:endParaRPr>
          </a:p>
        </p:txBody>
      </p:sp>
      <p:sp>
        <p:nvSpPr>
          <p:cNvPr id="121858" name="內容版面配置區 2">
            <a:extLst>
              <a:ext uri="{FF2B5EF4-FFF2-40B4-BE49-F238E27FC236}">
                <a16:creationId xmlns:a16="http://schemas.microsoft.com/office/drawing/2014/main" id="{EDC6ED75-0B1A-402E-93CB-002A83405296}"/>
              </a:ext>
            </a:extLst>
          </p:cNvPr>
          <p:cNvSpPr>
            <a:spLocks noGrp="1"/>
          </p:cNvSpPr>
          <p:nvPr>
            <p:ph idx="4294967295"/>
          </p:nvPr>
        </p:nvSpPr>
        <p:spPr>
          <a:xfrm>
            <a:off x="1534478" y="1104424"/>
            <a:ext cx="5957888" cy="3027521"/>
          </a:xfrm>
        </p:spPr>
        <p:txBody>
          <a:bodyPr rtlCol="0">
            <a:noAutofit/>
          </a:bodyPr>
          <a:lstStyle/>
          <a:p>
            <a:pPr marL="129774" indent="-123820" defTabSz="342887">
              <a:spcAft>
                <a:spcPts val="0"/>
              </a:spcAft>
              <a:buNone/>
              <a:defRPr/>
            </a:pPr>
            <a:r>
              <a:rPr lang="zh-TW" altLang="en-US" sz="2100" dirty="0">
                <a:latin typeface="+mj-lt"/>
                <a:ea typeface="PMingLiU-ExtB" pitchFamily="18" charset="-120"/>
              </a:rPr>
              <a:t>检索利器</a:t>
            </a:r>
          </a:p>
          <a:p>
            <a:pPr marL="129774" indent="-123820" defTabSz="342887">
              <a:spcAft>
                <a:spcPts val="0"/>
              </a:spcAft>
              <a:buNone/>
              <a:defRPr/>
            </a:pPr>
            <a:r>
              <a:rPr lang="en-US" altLang="zh-TW" sz="1500" dirty="0">
                <a:latin typeface="+mj-lt"/>
                <a:ea typeface="PMingLiU-ExtB" pitchFamily="18" charset="-120"/>
              </a:rPr>
              <a:t>1.</a:t>
            </a:r>
            <a:r>
              <a:rPr lang="zh-CN" altLang="en-US" sz="1500" dirty="0">
                <a:latin typeface="+mj-lt"/>
                <a:ea typeface="PMingLiU-ExtB" pitchFamily="18" charset="-120"/>
              </a:rPr>
              <a:t>有效筛选和分析</a:t>
            </a:r>
            <a:r>
              <a:rPr lang="en-US" altLang="zh-TW" sz="1500" dirty="0">
                <a:latin typeface="+mj-lt"/>
                <a:ea typeface="PMingLiU-ExtB" pitchFamily="18" charset="-120"/>
              </a:rPr>
              <a:t> </a:t>
            </a:r>
            <a:r>
              <a:rPr lang="zh-TW" altLang="en-US" sz="1500" dirty="0">
                <a:latin typeface="+mj-lt"/>
                <a:ea typeface="PMingLiU-ExtB" pitchFamily="18" charset="-120"/>
              </a:rPr>
              <a:t>：提供</a:t>
            </a:r>
            <a:r>
              <a:rPr lang="zh-TW" altLang="en-US" sz="1500" b="1" dirty="0">
                <a:solidFill>
                  <a:srgbClr val="FF0000"/>
                </a:solidFill>
                <a:latin typeface="+mj-lt"/>
                <a:ea typeface="PMingLiU-ExtB" pitchFamily="18" charset="-120"/>
              </a:rPr>
              <a:t>多种字段</a:t>
            </a:r>
            <a:r>
              <a:rPr lang="zh-CN" altLang="en-US" sz="1500" dirty="0">
                <a:latin typeface="+mj-lt"/>
                <a:ea typeface="PMingLiU-ExtB" pitchFamily="18" charset="-120"/>
              </a:rPr>
              <a:t>支持精确检索，并可做成图表</a:t>
            </a:r>
          </a:p>
          <a:p>
            <a:pPr marL="129774" indent="-123820" defTabSz="342887">
              <a:spcAft>
                <a:spcPts val="0"/>
              </a:spcAft>
              <a:buNone/>
              <a:defRPr/>
            </a:pPr>
            <a:r>
              <a:rPr lang="zh-CN" altLang="en-US" sz="1500" dirty="0">
                <a:latin typeface="+mj-lt"/>
                <a:ea typeface="PMingLiU-ExtB" pitchFamily="18" charset="-120"/>
              </a:rPr>
              <a:t>如：控制词汇、索书号、文件形式、刊名等</a:t>
            </a:r>
            <a:r>
              <a:rPr lang="en-US" altLang="zh-CN" sz="1500" dirty="0">
                <a:latin typeface="+mj-lt"/>
                <a:ea typeface="PMingLiU-ExtB" pitchFamily="18" charset="-120"/>
              </a:rPr>
              <a:t>(</a:t>
            </a:r>
            <a:r>
              <a:rPr lang="zh-CN" altLang="en-US" sz="1500" dirty="0">
                <a:latin typeface="+mj-lt"/>
                <a:ea typeface="PMingLiU-ExtB" pitchFamily="18" charset="-120"/>
              </a:rPr>
              <a:t>共</a:t>
            </a:r>
            <a:r>
              <a:rPr lang="en-US" altLang="zh-CN" sz="1500" dirty="0">
                <a:latin typeface="+mj-lt"/>
                <a:ea typeface="PMingLiU-ExtB" pitchFamily="18" charset="-120"/>
              </a:rPr>
              <a:t>10</a:t>
            </a:r>
            <a:r>
              <a:rPr lang="zh-CN" altLang="en-US" sz="1500" dirty="0">
                <a:latin typeface="+mj-lt"/>
                <a:ea typeface="PMingLiU-ExtB" pitchFamily="18" charset="-120"/>
              </a:rPr>
              <a:t>种</a:t>
            </a:r>
            <a:r>
              <a:rPr lang="en-US" altLang="zh-CN" sz="1500" dirty="0">
                <a:latin typeface="+mj-lt"/>
                <a:ea typeface="PMingLiU-ExtB" pitchFamily="18" charset="-120"/>
              </a:rPr>
              <a:t>)</a:t>
            </a:r>
          </a:p>
          <a:p>
            <a:pPr marL="129774" indent="-123820" defTabSz="342887">
              <a:spcAft>
                <a:spcPts val="0"/>
              </a:spcAft>
              <a:buNone/>
              <a:defRPr/>
            </a:pPr>
            <a:r>
              <a:rPr lang="en-US" altLang="zh-CN" sz="1500" dirty="0">
                <a:latin typeface="+mj-lt"/>
                <a:ea typeface="PMingLiU-ExtB" pitchFamily="18" charset="-120"/>
              </a:rPr>
              <a:t>2.</a:t>
            </a:r>
            <a:r>
              <a:rPr lang="zh-CN" altLang="en-US" sz="1500" dirty="0">
                <a:latin typeface="+mj-lt"/>
                <a:ea typeface="PMingLiU-ExtB" pitchFamily="18" charset="-120"/>
              </a:rPr>
              <a:t>知识图谱：叙词词表及检索</a:t>
            </a:r>
          </a:p>
          <a:p>
            <a:pPr marL="129774" indent="-123820" defTabSz="342887">
              <a:spcAft>
                <a:spcPts val="0"/>
              </a:spcAft>
              <a:buNone/>
              <a:defRPr/>
            </a:pPr>
            <a:r>
              <a:rPr lang="en-US" altLang="zh-CN" sz="1500" dirty="0">
                <a:latin typeface="+mj-lt"/>
                <a:ea typeface="PMingLiU-ExtB" pitchFamily="18" charset="-120"/>
              </a:rPr>
              <a:t>3.</a:t>
            </a:r>
            <a:r>
              <a:rPr lang="zh-CN" altLang="en-US" sz="1500" dirty="0">
                <a:latin typeface="+mj-lt"/>
                <a:ea typeface="PMingLiU-ExtB" pitchFamily="18" charset="-120"/>
              </a:rPr>
              <a:t>专业的专家检索模式：可自行输入检索语法</a:t>
            </a:r>
            <a:endParaRPr lang="en-US" altLang="zh-CN" sz="1500" dirty="0">
              <a:latin typeface="+mj-lt"/>
              <a:ea typeface="PMingLiU-ExtB" pitchFamily="18" charset="-120"/>
            </a:endParaRPr>
          </a:p>
          <a:p>
            <a:pPr marL="129774" indent="-123820" defTabSz="342887">
              <a:spcAft>
                <a:spcPts val="0"/>
              </a:spcAft>
              <a:buNone/>
              <a:defRPr/>
            </a:pPr>
            <a:r>
              <a:rPr lang="en-US" altLang="zh-CN" sz="1500" dirty="0">
                <a:latin typeface="+mj-lt"/>
                <a:ea typeface="PMingLiU-ExtB" pitchFamily="18" charset="-120"/>
              </a:rPr>
              <a:t>4.</a:t>
            </a:r>
            <a:r>
              <a:rPr lang="zh-CN" altLang="en-US" sz="1500" dirty="0">
                <a:latin typeface="+mj-lt"/>
                <a:ea typeface="PMingLiU-ExtB" pitchFamily="18" charset="-120"/>
              </a:rPr>
              <a:t>专为科研人员打造的追踪前沿利器：数值检索</a:t>
            </a:r>
          </a:p>
          <a:p>
            <a:pPr marL="129774" indent="-123820" defTabSz="342887">
              <a:spcAft>
                <a:spcPts val="0"/>
              </a:spcAft>
              <a:buNone/>
              <a:defRPr/>
            </a:pPr>
            <a:r>
              <a:rPr lang="en-US" altLang="zh-CN" sz="1500" dirty="0">
                <a:latin typeface="PMingLiU-ExtB" panose="02020500000000000000" pitchFamily="18" charset="-120"/>
                <a:ea typeface="PMingLiU-ExtB" panose="02020500000000000000" pitchFamily="18" charset="-120"/>
              </a:rPr>
              <a:t>5. </a:t>
            </a:r>
            <a:r>
              <a:rPr lang="zh-CN" altLang="en-US" sz="1500" dirty="0">
                <a:latin typeface="PMingLiU-ExtB" panose="02020500000000000000" pitchFamily="18" charset="-120"/>
                <a:ea typeface="PMingLiU" panose="02020500000000000000" pitchFamily="18" charset="-120"/>
              </a:rPr>
              <a:t>一键获取学校</a:t>
            </a:r>
            <a:r>
              <a:rPr lang="en-US" altLang="zh-CN" sz="1500" dirty="0" err="1">
                <a:latin typeface="PMingLiU-ExtB" panose="02020500000000000000" pitchFamily="18" charset="-120"/>
                <a:ea typeface="PMingLiU-ExtB" panose="02020500000000000000" pitchFamily="18" charset="-120"/>
              </a:rPr>
              <a:t>Ei</a:t>
            </a:r>
            <a:r>
              <a:rPr lang="zh-CN" altLang="en-US" sz="1500" dirty="0">
                <a:latin typeface="PMingLiU-ExtB" panose="02020500000000000000" pitchFamily="18" charset="-120"/>
                <a:ea typeface="PMingLiU" panose="02020500000000000000" pitchFamily="18" charset="-120"/>
              </a:rPr>
              <a:t>收录概览：工科学校档案</a:t>
            </a:r>
          </a:p>
        </p:txBody>
      </p:sp>
      <p:pic>
        <p:nvPicPr>
          <p:cNvPr id="104452" name="Picture 2" descr="C:\Documents and Settings\LiuK002\Desktop\Elsevier pictures\EV\EV_1-1.bmp">
            <a:extLst>
              <a:ext uri="{FF2B5EF4-FFF2-40B4-BE49-F238E27FC236}">
                <a16:creationId xmlns:a16="http://schemas.microsoft.com/office/drawing/2014/main" id="{89FCB5E1-2958-478C-BAD8-0875E67E3A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3062" y="3709035"/>
            <a:ext cx="5893593" cy="922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6498" name="Title 1">
            <a:extLst>
              <a:ext uri="{FF2B5EF4-FFF2-40B4-BE49-F238E27FC236}">
                <a16:creationId xmlns:a16="http://schemas.microsoft.com/office/drawing/2014/main" id="{14573F5F-EC9A-40F9-BE4C-EC2E3FA7AAA1}"/>
              </a:ext>
            </a:extLst>
          </p:cNvPr>
          <p:cNvSpPr>
            <a:spLocks noGrp="1" noChangeArrowheads="1"/>
          </p:cNvSpPr>
          <p:nvPr>
            <p:ph type="title"/>
          </p:nvPr>
        </p:nvSpPr>
        <p:spPr>
          <a:xfrm>
            <a:off x="1324452" y="367189"/>
            <a:ext cx="6177915" cy="312896"/>
          </a:xfrm>
        </p:spPr>
        <p:txBody>
          <a:bodyPr/>
          <a:lstStyle/>
          <a:p>
            <a:pPr eaLnBrk="1" hangingPunct="1"/>
            <a:endParaRPr lang="en-US" altLang="en-US">
              <a:latin typeface="Arial Bold" panose="020B0704020202020204" pitchFamily="34" charset="0"/>
              <a:cs typeface="Arial Bold" panose="020B0704020202020204" pitchFamily="34" charset="0"/>
            </a:endParaRPr>
          </a:p>
        </p:txBody>
      </p:sp>
      <p:pic>
        <p:nvPicPr>
          <p:cNvPr id="106499" name="Picture 2">
            <a:extLst>
              <a:ext uri="{FF2B5EF4-FFF2-40B4-BE49-F238E27FC236}">
                <a16:creationId xmlns:a16="http://schemas.microsoft.com/office/drawing/2014/main" id="{BE1CABD9-C9AB-4940-86CF-90E8F0CD59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644367"/>
            <a:ext cx="6860858" cy="385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a:extLst>
              <a:ext uri="{FF2B5EF4-FFF2-40B4-BE49-F238E27FC236}">
                <a16:creationId xmlns:a16="http://schemas.microsoft.com/office/drawing/2014/main" id="{1B9BE56E-CF2C-42E4-9F5F-73F5FE1934B8}"/>
              </a:ext>
            </a:extLst>
          </p:cNvPr>
          <p:cNvSpPr txBox="1">
            <a:spLocks noChangeArrowheads="1"/>
          </p:cNvSpPr>
          <p:nvPr/>
        </p:nvSpPr>
        <p:spPr bwMode="auto">
          <a:xfrm>
            <a:off x="1361599" y="824389"/>
            <a:ext cx="6386513" cy="334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0" rIns="68580" bIns="0" anchor="ctr"/>
          <a:lstStyle>
            <a:lvl1pPr defTabSz="685800">
              <a:defRPr sz="1400">
                <a:solidFill>
                  <a:schemeClr val="tx1"/>
                </a:solidFill>
                <a:latin typeface="Arial" panose="020B0604020202020204" pitchFamily="34" charset="0"/>
              </a:defRPr>
            </a:lvl1pPr>
            <a:lvl2pPr defTabSz="685800">
              <a:defRPr sz="1400">
                <a:solidFill>
                  <a:schemeClr val="tx1"/>
                </a:solidFill>
                <a:latin typeface="Arial" panose="020B0604020202020204" pitchFamily="34" charset="0"/>
              </a:defRPr>
            </a:lvl2pPr>
            <a:lvl3pPr defTabSz="685800">
              <a:defRPr sz="1400">
                <a:solidFill>
                  <a:schemeClr val="tx1"/>
                </a:solidFill>
                <a:latin typeface="Arial" panose="020B0604020202020204" pitchFamily="34" charset="0"/>
              </a:defRPr>
            </a:lvl3pPr>
            <a:lvl4pPr defTabSz="685800">
              <a:defRPr sz="1400">
                <a:solidFill>
                  <a:schemeClr val="tx1"/>
                </a:solidFill>
                <a:latin typeface="Arial" panose="020B0604020202020204" pitchFamily="34" charset="0"/>
              </a:defRPr>
            </a:lvl4pPr>
            <a:lvl5pPr defTabSz="685800">
              <a:defRPr sz="1400">
                <a:solidFill>
                  <a:schemeClr val="tx1"/>
                </a:solidFill>
                <a:latin typeface="Arial" panose="020B0604020202020204" pitchFamily="34" charset="0"/>
              </a:defRPr>
            </a:lvl5pPr>
            <a:lvl6pPr marL="1882775" indent="403225" defTabSz="6858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6858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6858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6858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zh-CN" sz="1800"/>
              <a:t>FAQs From Our Colleague</a:t>
            </a:r>
            <a:endParaRPr lang="en-US" altLang="en-US" sz="1800"/>
          </a:p>
        </p:txBody>
      </p:sp>
      <p:sp>
        <p:nvSpPr>
          <p:cNvPr id="107523" name="Text Placeholder 2">
            <a:extLst>
              <a:ext uri="{FF2B5EF4-FFF2-40B4-BE49-F238E27FC236}">
                <a16:creationId xmlns:a16="http://schemas.microsoft.com/office/drawing/2014/main" id="{F20CF569-8A50-4366-91D3-3CE7868070CB}"/>
              </a:ext>
            </a:extLst>
          </p:cNvPr>
          <p:cNvSpPr txBox="1">
            <a:spLocks noChangeArrowheads="1"/>
          </p:cNvSpPr>
          <p:nvPr/>
        </p:nvSpPr>
        <p:spPr bwMode="auto">
          <a:xfrm>
            <a:off x="1361599" y="1125855"/>
            <a:ext cx="6386513" cy="274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66700" indent="-266700" defTabSz="685800">
              <a:spcBef>
                <a:spcPct val="20000"/>
              </a:spcBef>
              <a:buFont typeface="Arial" panose="020B0604020202020204" pitchFamily="34" charset="0"/>
              <a:buChar char="•"/>
              <a:tabLst>
                <a:tab pos="266700" algn="l"/>
              </a:tabLst>
              <a:defRPr sz="1600">
                <a:solidFill>
                  <a:srgbClr val="53565A"/>
                </a:solidFill>
                <a:latin typeface="Arial" panose="020B0604020202020204" pitchFamily="34" charset="0"/>
                <a:cs typeface="Arial" panose="020B0604020202020204" pitchFamily="34" charset="0"/>
              </a:defRPr>
            </a:lvl1pPr>
            <a:lvl2pPr marL="514350" indent="-171450" defTabSz="685800">
              <a:spcBef>
                <a:spcPct val="20000"/>
              </a:spcBef>
              <a:buSzPct val="80000"/>
              <a:buFont typeface="ArialMT"/>
              <a:buChar char="–"/>
              <a:tabLst>
                <a:tab pos="266700" algn="l"/>
              </a:tabLst>
              <a:defRPr sz="1500">
                <a:solidFill>
                  <a:srgbClr val="53565A"/>
                </a:solidFill>
                <a:latin typeface="Arial" panose="020B0604020202020204" pitchFamily="34" charset="0"/>
                <a:cs typeface="Arial" panose="020B0604020202020204" pitchFamily="34" charset="0"/>
              </a:defRPr>
            </a:lvl2pPr>
            <a:lvl3pPr marL="8572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3pPr>
            <a:lvl4pPr marL="12001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4pPr>
            <a:lvl5pPr marL="15430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5pPr>
            <a:lvl6pPr marL="20002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6pPr>
            <a:lvl7pPr marL="24574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7pPr>
            <a:lvl8pPr marL="29146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8pPr>
            <a:lvl9pPr marL="33718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9pPr>
          </a:lstStyle>
          <a:p>
            <a:pPr>
              <a:spcBef>
                <a:spcPct val="0"/>
              </a:spcBef>
              <a:spcAft>
                <a:spcPts val="540"/>
              </a:spcAft>
              <a:buClr>
                <a:srgbClr val="FF6C00"/>
              </a:buClr>
            </a:pPr>
            <a:r>
              <a:rPr lang="en-US" altLang="zh-CN" sz="1170">
                <a:solidFill>
                  <a:schemeClr val="tx1"/>
                </a:solidFill>
              </a:rPr>
              <a:t>Ei</a:t>
            </a:r>
            <a:r>
              <a:rPr lang="zh-CN" altLang="en-US" sz="1170">
                <a:solidFill>
                  <a:schemeClr val="tx1"/>
                </a:solidFill>
              </a:rPr>
              <a:t>期刊会议收录什么标准及流程？</a:t>
            </a:r>
            <a:endParaRPr lang="en-US" altLang="zh-CN" sz="1170">
              <a:solidFill>
                <a:schemeClr val="tx1"/>
              </a:solidFill>
            </a:endParaRPr>
          </a:p>
          <a:p>
            <a:pPr>
              <a:spcBef>
                <a:spcPct val="0"/>
              </a:spcBef>
              <a:spcAft>
                <a:spcPts val="540"/>
              </a:spcAft>
              <a:buClr>
                <a:srgbClr val="FF6C00"/>
              </a:buClr>
              <a:buNone/>
            </a:pPr>
            <a:r>
              <a:rPr lang="en-US" altLang="zh-CN" sz="990">
                <a:solidFill>
                  <a:schemeClr val="tx1"/>
                </a:solidFill>
                <a:hlinkClick r:id="rId2"/>
              </a:rPr>
              <a:t>https://www.elsevier.com/solutions/engineering-village/content/selection-criteria</a:t>
            </a:r>
            <a:r>
              <a:rPr lang="en-US" altLang="zh-CN" sz="1350">
                <a:solidFill>
                  <a:schemeClr val="tx1"/>
                </a:solidFill>
              </a:rPr>
              <a:t> </a:t>
            </a:r>
          </a:p>
          <a:p>
            <a:pPr>
              <a:spcBef>
                <a:spcPct val="0"/>
              </a:spcBef>
              <a:spcAft>
                <a:spcPts val="540"/>
              </a:spcAft>
              <a:buClr>
                <a:srgbClr val="FF6C00"/>
              </a:buClr>
            </a:pPr>
            <a:r>
              <a:rPr lang="zh-CN" altLang="en-US" sz="1170">
                <a:solidFill>
                  <a:schemeClr val="tx1"/>
                </a:solidFill>
              </a:rPr>
              <a:t>有老师问</a:t>
            </a:r>
            <a:r>
              <a:rPr lang="en-US" altLang="zh-CN" sz="1170">
                <a:solidFill>
                  <a:schemeClr val="tx1"/>
                </a:solidFill>
              </a:rPr>
              <a:t>Ei</a:t>
            </a:r>
            <a:r>
              <a:rPr lang="zh-CN" altLang="en-US" sz="1170">
                <a:solidFill>
                  <a:schemeClr val="tx1"/>
                </a:solidFill>
              </a:rPr>
              <a:t>记录有一条信息错了，联系谁？</a:t>
            </a:r>
            <a:endParaRPr lang="en-US" altLang="zh-CN" sz="1170">
              <a:solidFill>
                <a:schemeClr val="tx1"/>
              </a:solidFill>
            </a:endParaRPr>
          </a:p>
          <a:p>
            <a:pPr>
              <a:spcBef>
                <a:spcPct val="0"/>
              </a:spcBef>
              <a:spcAft>
                <a:spcPts val="540"/>
              </a:spcAft>
              <a:buClr>
                <a:srgbClr val="FF6C00"/>
              </a:buClr>
              <a:buNone/>
            </a:pPr>
            <a:r>
              <a:rPr lang="zh-CN" altLang="en-US" sz="990">
                <a:solidFill>
                  <a:schemeClr val="tx1"/>
                </a:solidFill>
              </a:rPr>
              <a:t>（中文）</a:t>
            </a:r>
            <a:r>
              <a:rPr lang="en-US" altLang="en-US" sz="990" u="sng">
                <a:solidFill>
                  <a:schemeClr val="tx1"/>
                </a:solidFill>
                <a:ea typeface="黑体" panose="02010609060101010101" pitchFamily="49" charset="-122"/>
                <a:hlinkClick r:id="rId3"/>
              </a:rPr>
              <a:t>https://service.elsevier.com/app/contact/supporthub/engineering-village/</a:t>
            </a:r>
            <a:endParaRPr lang="en-US" altLang="en-US" sz="990" u="sng">
              <a:solidFill>
                <a:schemeClr val="tx1"/>
              </a:solidFill>
              <a:ea typeface="黑体" panose="02010609060101010101" pitchFamily="49" charset="-122"/>
            </a:endParaRPr>
          </a:p>
          <a:p>
            <a:pPr>
              <a:spcBef>
                <a:spcPct val="0"/>
              </a:spcBef>
              <a:spcAft>
                <a:spcPts val="540"/>
              </a:spcAft>
              <a:buClr>
                <a:srgbClr val="FF6C00"/>
              </a:buClr>
              <a:buNone/>
            </a:pPr>
            <a:r>
              <a:rPr lang="zh-CN" altLang="en-US" sz="990">
                <a:solidFill>
                  <a:schemeClr val="tx1"/>
                </a:solidFill>
              </a:rPr>
              <a:t>（英文）</a:t>
            </a:r>
            <a:r>
              <a:rPr lang="en-US" altLang="en-US" sz="990">
                <a:solidFill>
                  <a:schemeClr val="tx1"/>
                </a:solidFill>
                <a:ea typeface="黑体" panose="02010609060101010101" pitchFamily="49" charset="-122"/>
                <a:hlinkClick r:id="rId4"/>
              </a:rPr>
              <a:t>editorial@engineeringvillage.com</a:t>
            </a:r>
            <a:endParaRPr lang="en-US" altLang="zh-CN" sz="990">
              <a:solidFill>
                <a:schemeClr val="tx1"/>
              </a:solidFill>
            </a:endParaRPr>
          </a:p>
          <a:p>
            <a:pPr>
              <a:spcBef>
                <a:spcPct val="0"/>
              </a:spcBef>
              <a:spcAft>
                <a:spcPts val="540"/>
              </a:spcAft>
              <a:buClr>
                <a:srgbClr val="FF6C00"/>
              </a:buClr>
            </a:pPr>
            <a:r>
              <a:rPr lang="zh-CN" altLang="en-US" sz="1170">
                <a:solidFill>
                  <a:schemeClr val="tx1"/>
                </a:solidFill>
              </a:rPr>
              <a:t>有作者反映，投稿期刊写了</a:t>
            </a:r>
            <a:r>
              <a:rPr lang="en-US" altLang="zh-CN" sz="1170">
                <a:solidFill>
                  <a:schemeClr val="tx1"/>
                </a:solidFill>
              </a:rPr>
              <a:t>Ei</a:t>
            </a:r>
            <a:r>
              <a:rPr lang="zh-CN" altLang="en-US" sz="1170">
                <a:solidFill>
                  <a:schemeClr val="tx1"/>
                </a:solidFill>
              </a:rPr>
              <a:t>刊源，为什么一直检索不到文章？</a:t>
            </a:r>
            <a:endParaRPr lang="en-US" altLang="zh-CN" sz="1170">
              <a:solidFill>
                <a:schemeClr val="tx1"/>
              </a:solidFill>
            </a:endParaRPr>
          </a:p>
          <a:p>
            <a:pPr>
              <a:spcBef>
                <a:spcPct val="0"/>
              </a:spcBef>
              <a:spcAft>
                <a:spcPts val="540"/>
              </a:spcAft>
              <a:buClr>
                <a:srgbClr val="FF6C00"/>
              </a:buClr>
              <a:buNone/>
            </a:pPr>
            <a:r>
              <a:rPr lang="zh-CN" altLang="en-US" sz="990">
                <a:solidFill>
                  <a:schemeClr val="tx1"/>
                </a:solidFill>
              </a:rPr>
              <a:t>排查一：先查刊此刊是否包含在源表：</a:t>
            </a:r>
            <a:r>
              <a:rPr lang="en-US" altLang="en-US" sz="990">
                <a:solidFill>
                  <a:schemeClr val="tx1"/>
                </a:solidFill>
                <a:ea typeface="黑体" panose="02010609060101010101" pitchFamily="49" charset="-122"/>
                <a:hlinkClick r:id="rId5"/>
              </a:rPr>
              <a:t>https://www.elsevier.com/solutions/engineering-village/content</a:t>
            </a:r>
            <a:endParaRPr lang="en-US" altLang="en-US" sz="990">
              <a:solidFill>
                <a:schemeClr val="tx1"/>
              </a:solidFill>
              <a:ea typeface="黑体" panose="02010609060101010101" pitchFamily="49" charset="-122"/>
            </a:endParaRPr>
          </a:p>
          <a:p>
            <a:pPr>
              <a:spcBef>
                <a:spcPct val="0"/>
              </a:spcBef>
              <a:spcAft>
                <a:spcPts val="540"/>
              </a:spcAft>
              <a:buClr>
                <a:srgbClr val="FF6C00"/>
              </a:buClr>
              <a:buNone/>
            </a:pPr>
            <a:r>
              <a:rPr lang="zh-CN" altLang="en-US" sz="990">
                <a:solidFill>
                  <a:schemeClr val="tx1"/>
                </a:solidFill>
              </a:rPr>
              <a:t>排查二：如果期刊为</a:t>
            </a:r>
            <a:r>
              <a:rPr lang="en-US" altLang="zh-CN" sz="990">
                <a:solidFill>
                  <a:schemeClr val="tx1"/>
                </a:solidFill>
              </a:rPr>
              <a:t>Ei</a:t>
            </a:r>
            <a:r>
              <a:rPr lang="zh-CN" altLang="en-US" sz="990">
                <a:solidFill>
                  <a:schemeClr val="tx1"/>
                </a:solidFill>
              </a:rPr>
              <a:t>刊源，则上库查找是否有同期的文章被收录：如果没有，请联系出版社询问是否按时提交资料；如果有直接联系</a:t>
            </a:r>
            <a:r>
              <a:rPr lang="en-US" altLang="zh-CN" sz="990">
                <a:solidFill>
                  <a:schemeClr val="tx1"/>
                </a:solidFill>
              </a:rPr>
              <a:t>Ei</a:t>
            </a:r>
            <a:r>
              <a:rPr lang="zh-CN" altLang="en-US" sz="990">
                <a:solidFill>
                  <a:schemeClr val="tx1"/>
                </a:solidFill>
              </a:rPr>
              <a:t>中文客服查找并按要求提供证明材料。</a:t>
            </a:r>
            <a:endParaRPr lang="en-US" altLang="zh-CN" sz="990">
              <a:solidFill>
                <a:schemeClr val="tx1"/>
              </a:solidFill>
            </a:endParaRPr>
          </a:p>
          <a:p>
            <a:pPr>
              <a:spcBef>
                <a:spcPct val="0"/>
              </a:spcBef>
              <a:spcAft>
                <a:spcPts val="540"/>
              </a:spcAft>
              <a:buClr>
                <a:srgbClr val="FF6C00"/>
              </a:buClr>
            </a:pPr>
            <a:r>
              <a:rPr lang="en-US" altLang="zh-CN" sz="1170">
                <a:solidFill>
                  <a:schemeClr val="tx1"/>
                </a:solidFill>
              </a:rPr>
              <a:t>Ei</a:t>
            </a:r>
            <a:r>
              <a:rPr lang="zh-CN" altLang="en-US" sz="1170">
                <a:solidFill>
                  <a:schemeClr val="tx1"/>
                </a:solidFill>
              </a:rPr>
              <a:t>词表是什么，涉及我的学科吗？</a:t>
            </a:r>
            <a:endParaRPr lang="en-US" altLang="zh-CN" sz="1170">
              <a:solidFill>
                <a:schemeClr val="tx1"/>
              </a:solidFill>
            </a:endParaRPr>
          </a:p>
          <a:p>
            <a:pPr>
              <a:spcBef>
                <a:spcPct val="0"/>
              </a:spcBef>
              <a:spcAft>
                <a:spcPts val="540"/>
              </a:spcAft>
              <a:buClr>
                <a:srgbClr val="FF6C00"/>
              </a:buClr>
              <a:buNone/>
            </a:pPr>
            <a:r>
              <a:rPr lang="zh-CN" altLang="en-US" sz="990">
                <a:solidFill>
                  <a:schemeClr val="tx1"/>
                </a:solidFill>
              </a:rPr>
              <a:t>叙词表是由专业的规范词组成，它可以将同一主题不同表述的词，按主题内容规范在标准的专业词下，避免了由于词汇书写不同造成漏检，或词义概念混淆导致错检的问题。</a:t>
            </a:r>
          </a:p>
          <a:p>
            <a:pPr>
              <a:spcBef>
                <a:spcPct val="0"/>
              </a:spcBef>
              <a:spcAft>
                <a:spcPts val="540"/>
              </a:spcAft>
              <a:buClr>
                <a:srgbClr val="FF6C00"/>
              </a:buClr>
              <a:buNone/>
            </a:pPr>
            <a:r>
              <a:rPr lang="en-US" altLang="zh-CN" sz="990">
                <a:solidFill>
                  <a:schemeClr val="tx1"/>
                </a:solidFill>
              </a:rPr>
              <a:t>Ei</a:t>
            </a:r>
            <a:r>
              <a:rPr lang="zh-CN" altLang="en-US" sz="990">
                <a:solidFill>
                  <a:schemeClr val="tx1"/>
                </a:solidFill>
              </a:rPr>
              <a:t>词表电子版是指</a:t>
            </a:r>
            <a:r>
              <a:rPr lang="en-US" altLang="zh-CN" sz="990">
                <a:solidFill>
                  <a:schemeClr val="tx1"/>
                </a:solidFill>
              </a:rPr>
              <a:t>Thesaurus search</a:t>
            </a:r>
            <a:r>
              <a:rPr lang="zh-CN" altLang="en-US" sz="990">
                <a:solidFill>
                  <a:schemeClr val="tx1"/>
                </a:solidFill>
              </a:rPr>
              <a:t>的功能。</a:t>
            </a:r>
            <a:endParaRPr lang="en-US" altLang="zh-CN" sz="990">
              <a:solidFill>
                <a:schemeClr val="tx1"/>
              </a:solidFill>
            </a:endParaRPr>
          </a:p>
          <a:p>
            <a:pPr>
              <a:spcBef>
                <a:spcPct val="0"/>
              </a:spcBef>
              <a:spcAft>
                <a:spcPts val="540"/>
              </a:spcAft>
              <a:buClr>
                <a:srgbClr val="FF6C00"/>
              </a:buClr>
              <a:buFont typeface="Arial" panose="020B0604020202020204" pitchFamily="34" charset="0"/>
              <a:buAutoNum type="arabicPeriod"/>
            </a:pPr>
            <a:endParaRPr lang="en-US" altLang="zh-CN" sz="1350">
              <a:solidFill>
                <a:schemeClr val="tx1"/>
              </a:solidFill>
            </a:endParaRPr>
          </a:p>
          <a:p>
            <a:pPr>
              <a:spcBef>
                <a:spcPct val="0"/>
              </a:spcBef>
              <a:spcAft>
                <a:spcPts val="540"/>
              </a:spcAft>
              <a:buClr>
                <a:srgbClr val="FF6C00"/>
              </a:buClr>
            </a:pPr>
            <a:endParaRPr lang="en-US" altLang="en-US" sz="1350">
              <a:solidFill>
                <a:schemeClr val="tx1"/>
              </a:solidFill>
              <a:ea typeface="黑体" panose="02010609060101010101" pitchFamily="49"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B4A4CC2-71D0-9F4E-AE7B-59B146D5550C}"/>
              </a:ext>
            </a:extLst>
          </p:cNvPr>
          <p:cNvSpPr>
            <a:spLocks noGrp="1"/>
          </p:cNvSpPr>
          <p:nvPr>
            <p:ph type="title"/>
          </p:nvPr>
        </p:nvSpPr>
        <p:spPr>
          <a:xfrm>
            <a:off x="1331595" y="824389"/>
            <a:ext cx="6177915" cy="314325"/>
          </a:xfrm>
        </p:spPr>
        <p:txBody>
          <a:bodyPr rtlCol="0">
            <a:noAutofit/>
          </a:bodyPr>
          <a:lstStyle/>
          <a:p>
            <a:pPr defTabSz="342887">
              <a:defRPr/>
            </a:pPr>
            <a:r>
              <a:rPr lang="zh-CN" altLang="en-US" sz="1500" dirty="0"/>
              <a:t>帮助</a:t>
            </a:r>
            <a:endParaRPr lang="en-US" sz="1500" dirty="0"/>
          </a:p>
        </p:txBody>
      </p:sp>
      <p:pic>
        <p:nvPicPr>
          <p:cNvPr id="108547" name="Picture 2" descr="C:\Users\fells\AppData\Local\Temp\SNAGHTML1c694c3b.PNG">
            <a:extLst>
              <a:ext uri="{FF2B5EF4-FFF2-40B4-BE49-F238E27FC236}">
                <a16:creationId xmlns:a16="http://schemas.microsoft.com/office/drawing/2014/main" id="{CDE0A46E-A8CD-4546-983F-B6B240DD1A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1457325"/>
            <a:ext cx="6858000" cy="311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5341D-68CB-4917-BEB2-8FA13AECD6B6}"/>
              </a:ext>
            </a:extLst>
          </p:cNvPr>
          <p:cNvSpPr>
            <a:spLocks noGrp="1"/>
          </p:cNvSpPr>
          <p:nvPr>
            <p:ph type="title"/>
          </p:nvPr>
        </p:nvSpPr>
        <p:spPr/>
        <p:txBody>
          <a:bodyPr rtlCol="0">
            <a:noAutofit/>
          </a:bodyPr>
          <a:lstStyle/>
          <a:p>
            <a:pPr defTabSz="342887">
              <a:defRPr/>
            </a:pPr>
            <a:r>
              <a:rPr lang="zh-CN" altLang="en-US" sz="1500" dirty="0"/>
              <a:t>售后服务</a:t>
            </a:r>
            <a:endParaRPr lang="en-US" sz="1500" dirty="0"/>
          </a:p>
        </p:txBody>
      </p:sp>
      <p:sp>
        <p:nvSpPr>
          <p:cNvPr id="110595" name="Content Placeholder 2">
            <a:extLst>
              <a:ext uri="{FF2B5EF4-FFF2-40B4-BE49-F238E27FC236}">
                <a16:creationId xmlns:a16="http://schemas.microsoft.com/office/drawing/2014/main" id="{7406711D-0C4F-4E4D-944D-D323923D43D1}"/>
              </a:ext>
            </a:extLst>
          </p:cNvPr>
          <p:cNvSpPr>
            <a:spLocks noGrp="1" noChangeArrowheads="1"/>
          </p:cNvSpPr>
          <p:nvPr>
            <p:ph idx="1"/>
          </p:nvPr>
        </p:nvSpPr>
        <p:spPr>
          <a:xfrm>
            <a:off x="1331595" y="734378"/>
            <a:ext cx="6177915" cy="3674745"/>
          </a:xfrm>
        </p:spPr>
        <p:txBody>
          <a:bodyPr>
            <a:normAutofit fontScale="92500"/>
          </a:bodyPr>
          <a:lstStyle/>
          <a:p>
            <a:pPr eaLnBrk="1" hangingPunct="1"/>
            <a:r>
              <a:rPr lang="zh-CN" altLang="en-US" sz="1620" dirty="0">
                <a:latin typeface="Arial" panose="020B0604020202020204" pitchFamily="34" charset="0"/>
                <a:cs typeface="Arial" panose="020B0604020202020204" pitchFamily="34" charset="0"/>
              </a:rPr>
              <a:t>对于与</a:t>
            </a:r>
            <a:r>
              <a:rPr lang="en-US" altLang="en-US" sz="1620" dirty="0">
                <a:latin typeface="Arial" panose="020B0604020202020204" pitchFamily="34" charset="0"/>
                <a:cs typeface="Arial" panose="020B0604020202020204" pitchFamily="34" charset="0"/>
              </a:rPr>
              <a:t>Engineering Village</a:t>
            </a:r>
            <a:r>
              <a:rPr lang="zh-CN" altLang="en-US" sz="1620" dirty="0">
                <a:latin typeface="Arial" panose="020B0604020202020204" pitchFamily="34" charset="0"/>
                <a:cs typeface="Arial" panose="020B0604020202020204" pitchFamily="34" charset="0"/>
              </a:rPr>
              <a:t>相关的一般查询，例如数据库访问问题，</a:t>
            </a:r>
            <a:r>
              <a:rPr lang="en-US" altLang="en-US" sz="1620" dirty="0">
                <a:latin typeface="Arial" panose="020B0604020202020204" pitchFamily="34" charset="0"/>
                <a:cs typeface="Arial" panose="020B0604020202020204" pitchFamily="34" charset="0"/>
              </a:rPr>
              <a:t>IP</a:t>
            </a:r>
            <a:r>
              <a:rPr lang="zh-CN" altLang="en-US" sz="1620" dirty="0">
                <a:latin typeface="Arial" panose="020B0604020202020204" pitchFamily="34" charset="0"/>
                <a:cs typeface="Arial" panose="020B0604020202020204" pitchFamily="34" charset="0"/>
              </a:rPr>
              <a:t>授权，产品使用（例如检索问题和检索式优化等），内容（例如，缺失文章和索引问题），</a:t>
            </a:r>
            <a:r>
              <a:rPr lang="zh-CN" altLang="en-US" sz="1620" b="1" u="sng" dirty="0">
                <a:latin typeface="Arial" panose="020B0604020202020204" pitchFamily="34" charset="0"/>
                <a:cs typeface="Arial" panose="020B0604020202020204" pitchFamily="34" charset="0"/>
              </a:rPr>
              <a:t>请直接联系我们的客户支持团队 （支持中文）</a:t>
            </a:r>
            <a:r>
              <a:rPr lang="zh-CN" altLang="en-US" sz="1620" dirty="0">
                <a:latin typeface="Arial" panose="020B0604020202020204" pitchFamily="34" charset="0"/>
                <a:cs typeface="Arial" panose="020B0604020202020204" pitchFamily="34" charset="0"/>
              </a:rPr>
              <a:t>：</a:t>
            </a:r>
            <a:endParaRPr lang="en-US" altLang="en-US" sz="1620" dirty="0">
              <a:latin typeface="Arial" panose="020B0604020202020204" pitchFamily="34" charset="0"/>
              <a:cs typeface="Arial" panose="020B0604020202020204" pitchFamily="34" charset="0"/>
            </a:endParaRPr>
          </a:p>
          <a:p>
            <a:pPr lvl="1" eaLnBrk="1" hangingPunct="1"/>
            <a:r>
              <a:rPr lang="zh-CN" altLang="en-US" sz="1440" dirty="0">
                <a:latin typeface="Arial" panose="020B0604020202020204" pitchFamily="34" charset="0"/>
              </a:rPr>
              <a:t>电子邮件</a:t>
            </a:r>
            <a:r>
              <a:rPr lang="en-US" altLang="en-US" sz="1440" dirty="0">
                <a:latin typeface="Arial" panose="020B0604020202020204" pitchFamily="34" charset="0"/>
              </a:rPr>
              <a:t> (</a:t>
            </a:r>
            <a:r>
              <a:rPr lang="zh-CN" altLang="en-US" sz="1440" dirty="0">
                <a:latin typeface="Arial" panose="020B0604020202020204" pitchFamily="34" charset="0"/>
              </a:rPr>
              <a:t>除周末外，</a:t>
            </a:r>
            <a:r>
              <a:rPr lang="en-US" altLang="en-US" sz="1440" dirty="0">
                <a:latin typeface="Arial" panose="020B0604020202020204" pitchFamily="34" charset="0"/>
              </a:rPr>
              <a:t>24</a:t>
            </a:r>
            <a:r>
              <a:rPr lang="zh-CN" altLang="en-US" sz="1440" dirty="0">
                <a:latin typeface="Arial" panose="020B0604020202020204" pitchFamily="34" charset="0"/>
              </a:rPr>
              <a:t>小时内保证首次答复</a:t>
            </a:r>
            <a:r>
              <a:rPr lang="en-US" altLang="en-US" sz="1440" dirty="0">
                <a:latin typeface="Arial" panose="020B0604020202020204" pitchFamily="34" charset="0"/>
              </a:rPr>
              <a:t>): </a:t>
            </a:r>
            <a:r>
              <a:rPr lang="en-US" altLang="en-US" sz="1440" u="sng" dirty="0">
                <a:latin typeface="Arial" panose="020B0604020202020204" pitchFamily="34" charset="0"/>
                <a:hlinkClick r:id="rId2"/>
              </a:rPr>
              <a:t>https://service.elsevier.com/app/contact/supporthub/engineering-village/</a:t>
            </a:r>
            <a:endParaRPr lang="en-US" altLang="en-US" sz="1440" u="sng" dirty="0">
              <a:latin typeface="Arial" panose="020B0604020202020204" pitchFamily="34" charset="0"/>
            </a:endParaRPr>
          </a:p>
          <a:p>
            <a:pPr lvl="1" eaLnBrk="1" hangingPunct="1"/>
            <a:r>
              <a:rPr lang="zh-CN" altLang="en-US" sz="1440" dirty="0">
                <a:latin typeface="Arial" panose="020B0604020202020204" pitchFamily="34" charset="0"/>
              </a:rPr>
              <a:t>电话：</a:t>
            </a:r>
            <a:r>
              <a:rPr lang="en-US" altLang="zh-CN" sz="1440" dirty="0">
                <a:latin typeface="Arial" panose="020B0604020202020204" pitchFamily="34" charset="0"/>
              </a:rPr>
              <a:t>010-85208765 </a:t>
            </a:r>
            <a:r>
              <a:rPr lang="zh-CN" altLang="en-US" sz="1440" dirty="0">
                <a:latin typeface="Arial" panose="020B0604020202020204" pitchFamily="34" charset="0"/>
              </a:rPr>
              <a:t>（邮件开</a:t>
            </a:r>
            <a:r>
              <a:rPr lang="en-US" altLang="zh-CN" sz="1440" dirty="0">
                <a:latin typeface="Arial" panose="020B0604020202020204" pitchFamily="34" charset="0"/>
              </a:rPr>
              <a:t>case</a:t>
            </a:r>
            <a:r>
              <a:rPr lang="zh-CN" altLang="en-US" sz="1440" dirty="0">
                <a:latin typeface="Arial" panose="020B0604020202020204" pitchFamily="34" charset="0"/>
              </a:rPr>
              <a:t>后使用）</a:t>
            </a:r>
            <a:endParaRPr lang="en-US" altLang="en-US" sz="1440" dirty="0">
              <a:latin typeface="Arial" panose="020B0604020202020204" pitchFamily="34" charset="0"/>
            </a:endParaRPr>
          </a:p>
          <a:p>
            <a:pPr lvl="1" eaLnBrk="1" hangingPunct="1"/>
            <a:r>
              <a:rPr lang="zh-CN" altLang="en-US" sz="1440" dirty="0">
                <a:latin typeface="Arial" panose="020B0604020202020204" pitchFamily="34" charset="0"/>
              </a:rPr>
              <a:t>在线对话：</a:t>
            </a:r>
            <a:r>
              <a:rPr lang="en-US" altLang="en-US" sz="1440" u="sng" dirty="0">
                <a:latin typeface="Arial" panose="020B0604020202020204" pitchFamily="34" charset="0"/>
                <a:hlinkClick r:id="rId3"/>
              </a:rPr>
              <a:t>https://service.elsevier.com/app/chat/chat_launch/supporthub/engineering-village/</a:t>
            </a:r>
            <a:endParaRPr lang="en-US" altLang="en-US" sz="1440" dirty="0">
              <a:latin typeface="Arial" panose="020B0604020202020204" pitchFamily="34" charset="0"/>
            </a:endParaRPr>
          </a:p>
          <a:p>
            <a:pPr eaLnBrk="1" hangingPunct="1"/>
            <a:r>
              <a:rPr lang="zh-CN" altLang="en-US" sz="1620" dirty="0">
                <a:latin typeface="Arial" panose="020B0604020202020204" pitchFamily="34" charset="0"/>
                <a:cs typeface="Arial" panose="020B0604020202020204" pitchFamily="34" charset="0"/>
              </a:rPr>
              <a:t>有关</a:t>
            </a:r>
            <a:r>
              <a:rPr lang="en-US" altLang="en-US" sz="1620" dirty="0">
                <a:latin typeface="Arial" panose="020B0604020202020204" pitchFamily="34" charset="0"/>
                <a:cs typeface="Arial" panose="020B0604020202020204" pitchFamily="34" charset="0"/>
              </a:rPr>
              <a:t>Engineering Village</a:t>
            </a:r>
            <a:r>
              <a:rPr lang="zh-CN" altLang="en-US" sz="1620">
                <a:latin typeface="Arial" panose="020B0604020202020204" pitchFamily="34" charset="0"/>
                <a:cs typeface="Arial" panose="020B0604020202020204" pitchFamily="34" charset="0"/>
              </a:rPr>
              <a:t>内容的其他相关问题，请</a:t>
            </a:r>
            <a:r>
              <a:rPr lang="zh-CN" altLang="en-US" sz="1620" b="1" u="sng">
                <a:latin typeface="Arial" panose="020B0604020202020204" pitchFamily="34" charset="0"/>
                <a:cs typeface="Arial" panose="020B0604020202020204" pitchFamily="34" charset="0"/>
              </a:rPr>
              <a:t>直接用英文联系</a:t>
            </a:r>
            <a:r>
              <a:rPr lang="zh-CN" altLang="en-US" sz="1620">
                <a:latin typeface="Arial" panose="020B0604020202020204" pitchFamily="34" charset="0"/>
                <a:cs typeface="Arial" panose="020B0604020202020204" pitchFamily="34" charset="0"/>
              </a:rPr>
              <a:t>：</a:t>
            </a:r>
            <a:r>
              <a:rPr lang="en-US" altLang="en-US" sz="1620" u="sng">
                <a:latin typeface="Arial" panose="020B0604020202020204" pitchFamily="34" charset="0"/>
                <a:cs typeface="Arial" panose="020B0604020202020204" pitchFamily="34" charset="0"/>
                <a:hlinkClick r:id="rId4"/>
              </a:rPr>
              <a:t>editorial@engineeringvillage.com</a:t>
            </a:r>
            <a:endParaRPr lang="en-US" altLang="en-US" sz="1620">
              <a:latin typeface="Arial" panose="020B0604020202020204" pitchFamily="34" charset="0"/>
              <a:cs typeface="Arial" panose="020B0604020202020204" pitchFamily="34" charset="0"/>
            </a:endParaRPr>
          </a:p>
          <a:p>
            <a:pPr eaLnBrk="1" hangingPunct="1"/>
            <a:r>
              <a:rPr lang="zh-CN" altLang="en-US" sz="1620" dirty="0">
                <a:latin typeface="Arial" panose="020B0604020202020204" pitchFamily="34" charset="0"/>
                <a:cs typeface="Arial" panose="020B0604020202020204" pitchFamily="34" charset="0"/>
              </a:rPr>
              <a:t>有关</a:t>
            </a:r>
            <a:r>
              <a:rPr lang="en-US" altLang="en-US" sz="1620" dirty="0" err="1">
                <a:latin typeface="Arial" panose="020B0604020202020204" pitchFamily="34" charset="0"/>
                <a:cs typeface="Arial" panose="020B0604020202020204" pitchFamily="34" charset="0"/>
              </a:rPr>
              <a:t>Ei</a:t>
            </a:r>
            <a:r>
              <a:rPr lang="en-US" altLang="en-US" sz="1620" dirty="0">
                <a:latin typeface="Arial" panose="020B0604020202020204" pitchFamily="34" charset="0"/>
                <a:cs typeface="Arial" panose="020B0604020202020204" pitchFamily="34" charset="0"/>
              </a:rPr>
              <a:t> </a:t>
            </a:r>
            <a:r>
              <a:rPr lang="en-US" altLang="en-US" sz="1620" dirty="0" err="1">
                <a:latin typeface="Arial" panose="020B0604020202020204" pitchFamily="34" charset="0"/>
                <a:cs typeface="Arial" panose="020B0604020202020204" pitchFamily="34" charset="0"/>
              </a:rPr>
              <a:t>Compendex</a:t>
            </a:r>
            <a:r>
              <a:rPr lang="zh-CN" altLang="en-US" sz="1620" dirty="0">
                <a:latin typeface="Arial" panose="020B0604020202020204" pitchFamily="34" charset="0"/>
                <a:cs typeface="Arial" panose="020B0604020202020204" pitchFamily="34" charset="0"/>
              </a:rPr>
              <a:t>和</a:t>
            </a:r>
            <a:r>
              <a:rPr lang="en-US" altLang="en-US" sz="1620" dirty="0">
                <a:latin typeface="Arial" panose="020B0604020202020204" pitchFamily="34" charset="0"/>
                <a:cs typeface="Arial" panose="020B0604020202020204" pitchFamily="34" charset="0"/>
              </a:rPr>
              <a:t>GEOBASE</a:t>
            </a:r>
            <a:r>
              <a:rPr lang="zh-CN" altLang="en-US" sz="1620" dirty="0">
                <a:latin typeface="Arial" panose="020B0604020202020204" pitchFamily="34" charset="0"/>
                <a:cs typeface="Arial" panose="020B0604020202020204" pitchFamily="34" charset="0"/>
              </a:rPr>
              <a:t>覆盖范围建议的任何疑问，请</a:t>
            </a:r>
            <a:r>
              <a:rPr lang="zh-CN" altLang="en-US" sz="1620" b="1" u="sng" dirty="0">
                <a:latin typeface="Arial" panose="020B0604020202020204" pitchFamily="34" charset="0"/>
                <a:cs typeface="Arial" panose="020B0604020202020204" pitchFamily="34" charset="0"/>
              </a:rPr>
              <a:t>直接用英文联系</a:t>
            </a:r>
            <a:r>
              <a:rPr lang="zh-CN" altLang="en-US" sz="1620" dirty="0">
                <a:latin typeface="Arial" panose="020B0604020202020204" pitchFamily="34" charset="0"/>
                <a:cs typeface="Arial" panose="020B0604020202020204" pitchFamily="34" charset="0"/>
              </a:rPr>
              <a:t>：</a:t>
            </a:r>
            <a:r>
              <a:rPr lang="en-US" altLang="en-US" sz="1620" u="sng" dirty="0">
                <a:latin typeface="Arial" panose="020B0604020202020204" pitchFamily="34" charset="0"/>
                <a:cs typeface="Arial" panose="020B0604020202020204" pitchFamily="34" charset="0"/>
                <a:hlinkClick r:id="rId5"/>
              </a:rPr>
              <a:t>titlesuggestion@engineeringvillage.com</a:t>
            </a:r>
            <a:endParaRPr lang="en-US" altLang="en-US" sz="1620" dirty="0">
              <a:latin typeface="Arial" panose="020B0604020202020204" pitchFamily="34" charset="0"/>
              <a:cs typeface="Arial" panose="020B0604020202020204" pitchFamily="34" charset="0"/>
            </a:endParaRPr>
          </a:p>
          <a:p>
            <a:pPr eaLnBrk="1" hangingPunct="1"/>
            <a:endParaRPr lang="en-US" alt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9230BB0-F9D6-481E-9099-F1C174B9D927}"/>
              </a:ext>
            </a:extLst>
          </p:cNvPr>
          <p:cNvSpPr>
            <a:spLocks noGrp="1"/>
          </p:cNvSpPr>
          <p:nvPr>
            <p:ph type="sldNum" sz="quarter" idx="10"/>
          </p:nvPr>
        </p:nvSpPr>
        <p:spPr/>
        <p:txBody>
          <a:bodyPr/>
          <a:lstStyle/>
          <a:p>
            <a:pPr>
              <a:defRPr/>
            </a:pPr>
            <a:fld id="{26257D16-B18A-4E31-A76A-ECDDB3B22A3B}" type="slidenum">
              <a:rPr lang="en-US" altLang="zh-CN" smtClean="0"/>
              <a:pPr>
                <a:defRPr/>
              </a:pPr>
              <a:t>68</a:t>
            </a:fld>
            <a:endParaRPr lang="en-US" altLang="zh-CN"/>
          </a:p>
        </p:txBody>
      </p:sp>
    </p:spTree>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標題 1">
            <a:extLst>
              <a:ext uri="{FF2B5EF4-FFF2-40B4-BE49-F238E27FC236}">
                <a16:creationId xmlns:a16="http://schemas.microsoft.com/office/drawing/2014/main" id="{F779F83A-5E46-4BF3-9B05-2E97014598C5}"/>
              </a:ext>
            </a:extLst>
          </p:cNvPr>
          <p:cNvSpPr>
            <a:spLocks noGrp="1"/>
          </p:cNvSpPr>
          <p:nvPr>
            <p:ph type="title"/>
          </p:nvPr>
        </p:nvSpPr>
        <p:spPr>
          <a:xfrm>
            <a:off x="1375887" y="440055"/>
            <a:ext cx="6625113" cy="434340"/>
          </a:xfrm>
        </p:spPr>
        <p:txBody>
          <a:bodyPr rtlCol="0">
            <a:noAutofit/>
          </a:bodyPr>
          <a:lstStyle/>
          <a:p>
            <a:pPr defTabSz="342887">
              <a:defRPr/>
            </a:pPr>
            <a:r>
              <a:rPr lang="zh-CN" altLang="en-US" sz="2520" dirty="0">
                <a:latin typeface="+mj-ea"/>
              </a:rPr>
              <a:t>相关网站资源</a:t>
            </a:r>
          </a:p>
        </p:txBody>
      </p:sp>
      <p:sp>
        <p:nvSpPr>
          <p:cNvPr id="125954" name="內容版面配置區 2">
            <a:extLst>
              <a:ext uri="{FF2B5EF4-FFF2-40B4-BE49-F238E27FC236}">
                <a16:creationId xmlns:a16="http://schemas.microsoft.com/office/drawing/2014/main" id="{6928A980-8B00-4D95-8F36-F86CFA748570}"/>
              </a:ext>
            </a:extLst>
          </p:cNvPr>
          <p:cNvSpPr>
            <a:spLocks noGrp="1"/>
          </p:cNvSpPr>
          <p:nvPr>
            <p:ph idx="1"/>
          </p:nvPr>
        </p:nvSpPr>
        <p:spPr>
          <a:xfrm>
            <a:off x="1375887" y="1178719"/>
            <a:ext cx="5943600" cy="3028950"/>
          </a:xfrm>
        </p:spPr>
        <p:txBody>
          <a:bodyPr rtlCol="0">
            <a:noAutofit/>
          </a:bodyPr>
          <a:lstStyle/>
          <a:p>
            <a:pPr marL="129774" indent="-123820" defTabSz="342887">
              <a:spcAft>
                <a:spcPts val="0"/>
              </a:spcAft>
              <a:buFont typeface="Arial"/>
              <a:buChar char="•"/>
              <a:defRPr/>
            </a:pPr>
            <a:r>
              <a:rPr lang="en-US" sz="1500" b="1" dirty="0" err="1">
                <a:solidFill>
                  <a:srgbClr val="FF0000"/>
                </a:solidFill>
              </a:rPr>
              <a:t>Ei</a:t>
            </a:r>
            <a:r>
              <a:rPr lang="zh-CN" altLang="en-US" sz="1500" b="1" dirty="0">
                <a:solidFill>
                  <a:srgbClr val="FF0000"/>
                </a:solidFill>
              </a:rPr>
              <a:t>最新刊源信息公布链接为</a:t>
            </a:r>
            <a:r>
              <a:rPr lang="en-US" sz="1500" b="1" u="sng" dirty="0">
                <a:solidFill>
                  <a:srgbClr val="FF0000"/>
                </a:solidFill>
              </a:rPr>
              <a:t>https://www.elsevier.com/solutions/engineering-village/content</a:t>
            </a:r>
            <a:endParaRPr lang="en-US" altLang="zh-CN" sz="1500" b="1" dirty="0">
              <a:solidFill>
                <a:srgbClr val="FF0000"/>
              </a:solidFill>
            </a:endParaRPr>
          </a:p>
          <a:p>
            <a:pPr marL="129774" indent="-123820" defTabSz="342887">
              <a:spcAft>
                <a:spcPts val="0"/>
              </a:spcAft>
              <a:buFont typeface="Arial"/>
              <a:buChar char="•"/>
              <a:defRPr/>
            </a:pPr>
            <a:r>
              <a:rPr lang="zh-CN" altLang="en-US" sz="1500" b="1" dirty="0"/>
              <a:t>中文使用指南，培训课件和</a:t>
            </a:r>
            <a:r>
              <a:rPr lang="en-US" sz="1500" b="1" dirty="0" err="1"/>
              <a:t>Webex</a:t>
            </a:r>
            <a:r>
              <a:rPr lang="zh-CN" altLang="en-US" sz="1500" b="1" dirty="0"/>
              <a:t>视频培训：爱思唯尔 ：</a:t>
            </a:r>
            <a:r>
              <a:rPr lang="en-US" sz="1500" dirty="0">
                <a:hlinkClick r:id="rId3"/>
              </a:rPr>
              <a:t>https://www.elsevier.com/zh-cn/solutions/engineering-village</a:t>
            </a:r>
            <a:endParaRPr lang="en-US" sz="1500" dirty="0"/>
          </a:p>
          <a:p>
            <a:pPr marL="129774" indent="-123820" defTabSz="342887">
              <a:spcAft>
                <a:spcPts val="0"/>
              </a:spcAft>
              <a:buFont typeface="Arial"/>
              <a:buChar char="•"/>
              <a:defRPr/>
            </a:pPr>
            <a:r>
              <a:rPr lang="zh-CN" altLang="en-US" sz="1500" b="1" dirty="0"/>
              <a:t>英文产品相关信息： </a:t>
            </a:r>
            <a:r>
              <a:rPr lang="en-US" sz="1500" b="1" u="sng" dirty="0">
                <a:hlinkClick r:id="rId4"/>
              </a:rPr>
              <a:t>www.</a:t>
            </a:r>
            <a:r>
              <a:rPr lang="en-US" sz="1500" b="1" i="1" u="sng" dirty="0">
                <a:hlinkClick r:id="rId4"/>
              </a:rPr>
              <a:t>elsevier.com/engineering-village</a:t>
            </a:r>
            <a:r>
              <a:rPr lang="en-US" sz="1500" b="1" i="1" dirty="0"/>
              <a:t> </a:t>
            </a:r>
            <a:endParaRPr lang="en-US" sz="1500" b="1" dirty="0"/>
          </a:p>
          <a:p>
            <a:pPr marL="129774" indent="-123820" defTabSz="342887">
              <a:spcAft>
                <a:spcPts val="0"/>
              </a:spcAft>
              <a:buFont typeface="Arial"/>
              <a:buChar char="•"/>
              <a:defRPr/>
            </a:pPr>
            <a:endParaRPr lang="en-US" altLang="zh-CN" sz="1500" b="1" dirty="0">
              <a:latin typeface="Calibri" pitchFamily="34" charset="0"/>
              <a:ea typeface="PMingLiU-ExtB" pitchFamily="18" charset="-120"/>
            </a:endParaRPr>
          </a:p>
          <a:p>
            <a:pPr marL="5954" indent="0" defTabSz="342887">
              <a:spcAft>
                <a:spcPts val="0"/>
              </a:spcAft>
              <a:buNone/>
              <a:defRPr/>
            </a:pPr>
            <a:br>
              <a:rPr lang="en-US" altLang="zh-TW" sz="1500" b="1" dirty="0">
                <a:latin typeface="Calibri" pitchFamily="34" charset="0"/>
                <a:ea typeface="PMingLiU-ExtB" pitchFamily="18" charset="-120"/>
              </a:rPr>
            </a:br>
            <a:endParaRPr lang="en-US" altLang="zh-TW" sz="1500" b="1" dirty="0">
              <a:latin typeface="Calibri" pitchFamily="34" charset="0"/>
              <a:ea typeface="PMingLiU-ExtB" pitchFamily="18" charset="-120"/>
            </a:endParaRPr>
          </a:p>
          <a:p>
            <a:pPr marL="129774" indent="-123820" defTabSz="342887">
              <a:spcAft>
                <a:spcPts val="0"/>
              </a:spcAft>
              <a:buFont typeface="Arial"/>
              <a:buChar char="•"/>
              <a:defRPr/>
            </a:pPr>
            <a:endParaRPr lang="en-US" altLang="zh-TW" sz="1500" b="1" dirty="0">
              <a:latin typeface="Calibri" pitchFamily="34" charset="0"/>
              <a:ea typeface="PMingLiU-ExtB" pitchFamily="18" charset="-120"/>
            </a:endParaRPr>
          </a:p>
          <a:p>
            <a:pPr marL="129774" indent="-123820" defTabSz="342887">
              <a:spcAft>
                <a:spcPts val="0"/>
              </a:spcAft>
              <a:buFont typeface="Arial"/>
              <a:buChar char="•"/>
              <a:defRPr/>
            </a:pPr>
            <a:endParaRPr lang="zh-CN" altLang="en-US" sz="1500" b="1" dirty="0"/>
          </a:p>
        </p:txBody>
      </p:sp>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A04EB-4761-434B-9F6E-A2B962B449DB}"/>
              </a:ext>
            </a:extLst>
          </p:cNvPr>
          <p:cNvPicPr>
            <a:picLocks noChangeAspect="1"/>
          </p:cNvPicPr>
          <p:nvPr/>
        </p:nvPicPr>
        <p:blipFill>
          <a:blip r:embed="rId2"/>
          <a:stretch>
            <a:fillRect/>
          </a:stretch>
        </p:blipFill>
        <p:spPr>
          <a:xfrm>
            <a:off x="952819" y="272601"/>
            <a:ext cx="6234249" cy="4130351"/>
          </a:xfrm>
          <a:prstGeom prst="rect">
            <a:avLst/>
          </a:prstGeom>
        </p:spPr>
      </p:pic>
    </p:spTree>
    <p:extLst>
      <p:ext uri="{BB962C8B-B14F-4D97-AF65-F5344CB8AC3E}">
        <p14:creationId xmlns:p14="http://schemas.microsoft.com/office/powerpoint/2010/main" val="260040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0348B9-8136-44F1-BA1D-181F1E2CE990}"/>
              </a:ext>
            </a:extLst>
          </p:cNvPr>
          <p:cNvSpPr txBox="1">
            <a:spLocks/>
          </p:cNvSpPr>
          <p:nvPr/>
        </p:nvSpPr>
        <p:spPr>
          <a:xfrm>
            <a:off x="292101" y="242352"/>
            <a:ext cx="8514275" cy="445169"/>
          </a:xfrm>
          <a:prstGeom prst="rect">
            <a:avLst/>
          </a:prstGeom>
        </p:spPr>
        <p:txBody>
          <a:bodyPr vert="horz" lIns="91440" tIns="0" rIns="91440" bIns="0" rtlCol="0" anchor="ctr" anchorCtr="0">
            <a:noAutofit/>
          </a:bodyPr>
          <a:lst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a:lstStyle>
          <a:p>
            <a:r>
              <a:rPr lang="en-US" altLang="zh-CN" sz="2400" dirty="0"/>
              <a:t>FAQs From Our Colleague</a:t>
            </a:r>
            <a:endParaRPr lang="en-US" sz="2400" dirty="0"/>
          </a:p>
        </p:txBody>
      </p:sp>
      <p:sp>
        <p:nvSpPr>
          <p:cNvPr id="4" name="Text Placeholder 2">
            <a:extLst>
              <a:ext uri="{FF2B5EF4-FFF2-40B4-BE49-F238E27FC236}">
                <a16:creationId xmlns:a16="http://schemas.microsoft.com/office/drawing/2014/main" id="{C5B16CE9-AC9A-4B91-9CA6-FA542093D5EB}"/>
              </a:ext>
            </a:extLst>
          </p:cNvPr>
          <p:cNvSpPr txBox="1">
            <a:spLocks/>
          </p:cNvSpPr>
          <p:nvPr/>
        </p:nvSpPr>
        <p:spPr>
          <a:xfrm>
            <a:off x="292100" y="644600"/>
            <a:ext cx="8514275" cy="3661593"/>
          </a:xfrm>
          <a:prstGeom prst="rect">
            <a:avLst/>
          </a:prstGeom>
        </p:spPr>
        <p:txBody>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zh-CN" sz="1600" dirty="0" err="1"/>
              <a:t>Ei</a:t>
            </a:r>
            <a:r>
              <a:rPr lang="zh-CN" altLang="en-US" sz="1600" dirty="0"/>
              <a:t>期刊会议收录什么标准及流程？</a:t>
            </a:r>
            <a:endParaRPr lang="en-US" altLang="zh-CN" sz="1600" dirty="0"/>
          </a:p>
          <a:p>
            <a:pPr marL="0" indent="0">
              <a:buNone/>
            </a:pPr>
            <a:r>
              <a:rPr lang="en-US" altLang="zh-CN" sz="1400" dirty="0">
                <a:hlinkClick r:id="rId2"/>
              </a:rPr>
              <a:t>https://www.elsevier.com/solutions/engineering-village/content/selection-criteria</a:t>
            </a:r>
            <a:r>
              <a:rPr lang="en-US" altLang="zh-CN" dirty="0"/>
              <a:t> </a:t>
            </a:r>
          </a:p>
          <a:p>
            <a:r>
              <a:rPr lang="zh-CN" altLang="en-US" sz="1600" dirty="0"/>
              <a:t>有老师问</a:t>
            </a:r>
            <a:r>
              <a:rPr lang="en-US" altLang="zh-CN" sz="1600" dirty="0" err="1"/>
              <a:t>Ei</a:t>
            </a:r>
            <a:r>
              <a:rPr lang="zh-CN" altLang="en-US" sz="1600" dirty="0"/>
              <a:t>记录有一条信息错了，联系谁？</a:t>
            </a:r>
            <a:endParaRPr lang="en-US" altLang="zh-CN" sz="1600" dirty="0"/>
          </a:p>
          <a:p>
            <a:pPr marL="0" indent="0">
              <a:buNone/>
            </a:pPr>
            <a:r>
              <a:rPr lang="zh-CN" altLang="en-US" sz="1400" dirty="0"/>
              <a:t>（中文）</a:t>
            </a:r>
            <a:r>
              <a:rPr lang="en-US" sz="1400" u="sng" dirty="0">
                <a:hlinkClick r:id="rId3"/>
              </a:rPr>
              <a:t>https://service.elsevier.com/app/contact/supporthub/engineering-village/</a:t>
            </a:r>
            <a:endParaRPr lang="en-US" sz="1400" u="sng" dirty="0"/>
          </a:p>
          <a:p>
            <a:pPr marL="0" indent="0">
              <a:buNone/>
            </a:pPr>
            <a:r>
              <a:rPr lang="zh-CN" altLang="en-US" sz="1400" dirty="0"/>
              <a:t>（英文）</a:t>
            </a:r>
            <a:r>
              <a:rPr lang="en-US" sz="1400" dirty="0">
                <a:hlinkClick r:id="rId4"/>
              </a:rPr>
              <a:t>editorial@engineeringvillage.com</a:t>
            </a:r>
            <a:endParaRPr lang="en-US" altLang="zh-CN" sz="1400" dirty="0"/>
          </a:p>
          <a:p>
            <a:r>
              <a:rPr lang="zh-CN" altLang="en-US" sz="1600" dirty="0"/>
              <a:t>有作者反映，投稿期刊写了</a:t>
            </a:r>
            <a:r>
              <a:rPr lang="en-US" altLang="zh-CN" sz="1600" dirty="0" err="1"/>
              <a:t>Ei</a:t>
            </a:r>
            <a:r>
              <a:rPr lang="zh-CN" altLang="en-US" sz="1600" dirty="0"/>
              <a:t>刊源，为什么一直检索不到文章？</a:t>
            </a:r>
            <a:endParaRPr lang="en-US" altLang="zh-CN" sz="1600" dirty="0"/>
          </a:p>
          <a:p>
            <a:pPr marL="0" indent="0">
              <a:buNone/>
            </a:pPr>
            <a:r>
              <a:rPr lang="zh-CN" altLang="en-US" sz="1400" dirty="0"/>
              <a:t>排查一：先查刊此刊是否包含在源表：</a:t>
            </a:r>
            <a:r>
              <a:rPr lang="en-US" sz="1400" dirty="0">
                <a:hlinkClick r:id="rId5"/>
              </a:rPr>
              <a:t>https://www.elsevier.com/solutions/engineering-village/content</a:t>
            </a:r>
            <a:endParaRPr lang="en-US" sz="1400" dirty="0"/>
          </a:p>
          <a:p>
            <a:pPr marL="0" indent="0">
              <a:buNone/>
            </a:pPr>
            <a:r>
              <a:rPr lang="zh-CN" altLang="en-US" sz="1400" dirty="0"/>
              <a:t>排查二：如果期刊为</a:t>
            </a:r>
            <a:r>
              <a:rPr lang="en-US" altLang="zh-CN" sz="1400" dirty="0" err="1"/>
              <a:t>Ei</a:t>
            </a:r>
            <a:r>
              <a:rPr lang="zh-CN" altLang="en-US" sz="1400" dirty="0"/>
              <a:t>刊源，则上库查找是否有同期的文章被收录：如果没有，请联系出版社询问是否按时提交资料；如果有直接联系</a:t>
            </a:r>
            <a:r>
              <a:rPr lang="en-US" altLang="zh-CN" sz="1400" dirty="0" err="1"/>
              <a:t>Ei</a:t>
            </a:r>
            <a:r>
              <a:rPr lang="zh-CN" altLang="en-US" sz="1400" dirty="0"/>
              <a:t>中文客服查找并按要求提供证明材料。</a:t>
            </a:r>
            <a:endParaRPr lang="en-US" altLang="zh-CN" sz="1400" dirty="0"/>
          </a:p>
          <a:p>
            <a:r>
              <a:rPr lang="en-US" altLang="zh-CN" sz="1600" dirty="0" err="1"/>
              <a:t>Ei</a:t>
            </a:r>
            <a:r>
              <a:rPr lang="zh-CN" altLang="en-US" sz="1600" dirty="0"/>
              <a:t>词表是什么，涉及我的学科吗？</a:t>
            </a:r>
            <a:endParaRPr lang="en-US" altLang="zh-CN" sz="1600" dirty="0"/>
          </a:p>
          <a:p>
            <a:pPr marL="0" indent="0">
              <a:buNone/>
            </a:pPr>
            <a:r>
              <a:rPr lang="zh-CN" altLang="en-US" sz="1400" dirty="0"/>
              <a:t>叙词表是由专业的规范词组成，它可以将同一主题不同表述的词，按主题内容规范在标准的专业词下，避免了由于词汇书写不同造成漏检，或词义概念混淆导致错检的问题。</a:t>
            </a:r>
          </a:p>
          <a:p>
            <a:pPr marL="0" indent="0">
              <a:buNone/>
            </a:pPr>
            <a:r>
              <a:rPr lang="en-US" altLang="zh-CN" sz="1400" dirty="0" err="1"/>
              <a:t>Ei</a:t>
            </a:r>
            <a:r>
              <a:rPr lang="zh-CN" altLang="en-US" sz="1400" dirty="0"/>
              <a:t>词表电子版是指</a:t>
            </a:r>
            <a:r>
              <a:rPr lang="en-US" altLang="zh-CN" sz="1400" dirty="0"/>
              <a:t>Thesaurus search</a:t>
            </a:r>
            <a:r>
              <a:rPr lang="zh-CN" altLang="en-US" sz="1400" dirty="0"/>
              <a:t>的功能。</a:t>
            </a:r>
            <a:endParaRPr lang="en-US" altLang="zh-CN" sz="1400" dirty="0"/>
          </a:p>
          <a:p>
            <a:pPr marL="342900" indent="-342900">
              <a:buFont typeface="+mj-lt"/>
              <a:buAutoNum type="arabicPeriod"/>
            </a:pPr>
            <a:endParaRPr lang="en-US" altLang="zh-CN" dirty="0"/>
          </a:p>
          <a:p>
            <a:endParaRPr lang="en-US" dirty="0"/>
          </a:p>
        </p:txBody>
      </p:sp>
    </p:spTree>
    <p:extLst>
      <p:ext uri="{BB962C8B-B14F-4D97-AF65-F5344CB8AC3E}">
        <p14:creationId xmlns:p14="http://schemas.microsoft.com/office/powerpoint/2010/main" val="55964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a:extLst>
              <a:ext uri="{FF2B5EF4-FFF2-40B4-BE49-F238E27FC236}">
                <a16:creationId xmlns:a16="http://schemas.microsoft.com/office/drawing/2014/main" id="{166092AF-4926-406B-B12E-5141873A89A4}"/>
              </a:ext>
            </a:extLst>
          </p:cNvPr>
          <p:cNvSpPr>
            <a:spLocks noGrp="1" noChangeArrowheads="1"/>
          </p:cNvSpPr>
          <p:nvPr>
            <p:ph type="title" idx="4294967295"/>
          </p:nvPr>
        </p:nvSpPr>
        <p:spPr>
          <a:xfrm>
            <a:off x="1370172" y="417195"/>
            <a:ext cx="6179343" cy="261462"/>
          </a:xfrm>
        </p:spPr>
        <p:txBody>
          <a:bodyPr vert="horz" lIns="68516" tIns="34259" rIns="68516" bIns="34259" rtlCol="0" anchor="ctr" anchorCtr="0">
            <a:noAutofit/>
          </a:bodyPr>
          <a:lstStyle/>
          <a:p>
            <a:pPr defTabSz="684372">
              <a:lnSpc>
                <a:spcPct val="150000"/>
              </a:lnSpc>
              <a:spcBef>
                <a:spcPts val="754"/>
              </a:spcBef>
            </a:pPr>
            <a:r>
              <a:rPr lang="zh-CN" altLang="en-US" sz="135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科学世界的变化给研究人员带来新挑战</a:t>
            </a:r>
            <a:endParaRPr lang="en-US" altLang="en-US" sz="135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p:txBody>
      </p:sp>
      <p:pic>
        <p:nvPicPr>
          <p:cNvPr id="113667" name="Picture 2">
            <a:extLst>
              <a:ext uri="{FF2B5EF4-FFF2-40B4-BE49-F238E27FC236}">
                <a16:creationId xmlns:a16="http://schemas.microsoft.com/office/drawing/2014/main" id="{141C2798-3B9A-45A4-8E08-DDF4E16723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0172" y="742950"/>
            <a:ext cx="2807493" cy="372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668" name="Picture 3">
            <a:extLst>
              <a:ext uri="{FF2B5EF4-FFF2-40B4-BE49-F238E27FC236}">
                <a16:creationId xmlns:a16="http://schemas.microsoft.com/office/drawing/2014/main" id="{002569F6-392F-4DE1-AFEF-6F67C9A8B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4884" y="1437323"/>
            <a:ext cx="2986088" cy="202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Right 4">
            <a:extLst>
              <a:ext uri="{FF2B5EF4-FFF2-40B4-BE49-F238E27FC236}">
                <a16:creationId xmlns:a16="http://schemas.microsoft.com/office/drawing/2014/main" id="{0C7975ED-7F6C-4036-B7C7-4EF8DCD13815}"/>
              </a:ext>
            </a:extLst>
          </p:cNvPr>
          <p:cNvSpPr/>
          <p:nvPr/>
        </p:nvSpPr>
        <p:spPr>
          <a:xfrm>
            <a:off x="4177665" y="2070259"/>
            <a:ext cx="867252" cy="762953"/>
          </a:xfrm>
          <a:prstGeom prst="rightArrow">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anchor="ctr"/>
          <a:lstStyle/>
          <a:p>
            <a:pPr algn="ctr" defTabSz="320954">
              <a:defRPr/>
            </a:pPr>
            <a:endParaRPr lang="en-US" sz="1053"/>
          </a:p>
        </p:txBody>
      </p:sp>
    </p:spTree>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ja-JP" altLang="en-US" sz="3000" dirty="0">
                <a:latin typeface="黑体" panose="02010609060101010101" pitchFamily="49" charset="-122"/>
                <a:ea typeface="黑体" panose="02010609060101010101" pitchFamily="49" charset="-122"/>
              </a:rPr>
              <a:t>谢谢！</a:t>
            </a:r>
            <a:endParaRPr lang="en-US" sz="3000" dirty="0">
              <a:latin typeface="黑体" panose="02010609060101010101" pitchFamily="49" charset="-122"/>
              <a:ea typeface="黑体" panose="02010609060101010101" pitchFamily="49" charset="-122"/>
            </a:endParaRPr>
          </a:p>
        </p:txBody>
      </p:sp>
      <p:sp>
        <p:nvSpPr>
          <p:cNvPr id="4" name="Rectangle 3"/>
          <p:cNvSpPr/>
          <p:nvPr/>
        </p:nvSpPr>
        <p:spPr>
          <a:xfrm>
            <a:off x="385952" y="3281888"/>
            <a:ext cx="5832046" cy="1223412"/>
          </a:xfrm>
          <a:prstGeom prst="rect">
            <a:avLst/>
          </a:prstGeom>
        </p:spPr>
        <p:txBody>
          <a:bodyPr wrap="none">
            <a:spAutoFit/>
          </a:bodyPr>
          <a:lstStyle/>
          <a:p>
            <a:pPr>
              <a:defRPr/>
            </a:pPr>
            <a:r>
              <a:rPr lang="en-US" altLang="zh-CN" sz="1050" b="1" dirty="0">
                <a:solidFill>
                  <a:schemeClr val="tx2"/>
                </a:solidFill>
              </a:rPr>
              <a:t>Engineering Village </a:t>
            </a:r>
            <a:r>
              <a:rPr lang="en-US" sz="1050" b="1" dirty="0">
                <a:solidFill>
                  <a:schemeClr val="tx2"/>
                </a:solidFill>
              </a:rPr>
              <a:t>info site: </a:t>
            </a:r>
            <a:r>
              <a:rPr lang="en-US" sz="1050" dirty="0">
                <a:hlinkClick r:id="rId3"/>
              </a:rPr>
              <a:t>https://www.elsevier.com/solutions/engineering-village/content</a:t>
            </a:r>
            <a:endParaRPr lang="en-US" sz="1050" dirty="0"/>
          </a:p>
          <a:p>
            <a:pPr>
              <a:defRPr/>
            </a:pPr>
            <a:r>
              <a:rPr lang="en-US" altLang="zh-CN" sz="1050" b="1" dirty="0">
                <a:solidFill>
                  <a:schemeClr val="tx2"/>
                </a:solidFill>
              </a:rPr>
              <a:t>Engineering Village China Site</a:t>
            </a:r>
            <a:r>
              <a:rPr lang="zh-CN" altLang="en-US" sz="1050" b="1" dirty="0">
                <a:solidFill>
                  <a:schemeClr val="tx2"/>
                </a:solidFill>
              </a:rPr>
              <a:t>：</a:t>
            </a:r>
            <a:r>
              <a:rPr lang="en-US" sz="1050" dirty="0">
                <a:hlinkClick r:id="rId4"/>
              </a:rPr>
              <a:t>https://www.elsever.com/zh-cn/solutions/engineering-village</a:t>
            </a:r>
            <a:endParaRPr lang="en-US" sz="1050" b="1" dirty="0">
              <a:solidFill>
                <a:schemeClr val="tx2"/>
              </a:solidFill>
            </a:endParaRPr>
          </a:p>
          <a:p>
            <a:pPr>
              <a:defRPr/>
            </a:pPr>
            <a:r>
              <a:rPr lang="en-US" sz="1050" b="1" dirty="0">
                <a:solidFill>
                  <a:schemeClr val="tx2"/>
                </a:solidFill>
              </a:rPr>
              <a:t>Engineering Village blog: </a:t>
            </a:r>
            <a:r>
              <a:rPr lang="en-US" sz="1050" dirty="0">
                <a:hlinkClick r:id="rId5"/>
              </a:rPr>
              <a:t>https://blog.engineeringvillage.com/</a:t>
            </a:r>
            <a:endParaRPr lang="en-US" sz="1050" dirty="0"/>
          </a:p>
          <a:p>
            <a:pPr>
              <a:defRPr/>
            </a:pPr>
            <a:r>
              <a:rPr lang="en-US" sz="1050" b="1" dirty="0">
                <a:solidFill>
                  <a:schemeClr val="tx2"/>
                </a:solidFill>
              </a:rPr>
              <a:t>Twitter: </a:t>
            </a:r>
            <a:r>
              <a:rPr lang="en-US" sz="1050" dirty="0">
                <a:hlinkClick r:id="rId6"/>
              </a:rPr>
              <a:t>https://twitter.com/engvillage</a:t>
            </a:r>
            <a:endParaRPr lang="en-US" sz="1050" dirty="0"/>
          </a:p>
          <a:p>
            <a:pPr>
              <a:defRPr/>
            </a:pPr>
            <a:r>
              <a:rPr lang="en-US" altLang="zh-CN" sz="1050" b="1" dirty="0">
                <a:solidFill>
                  <a:schemeClr val="tx2"/>
                </a:solidFill>
              </a:rPr>
              <a:t>Helpdesk: </a:t>
            </a:r>
            <a:r>
              <a:rPr lang="en-US" sz="1050" u="sng" dirty="0">
                <a:hlinkClick r:id="rId7"/>
              </a:rPr>
              <a:t>https://service.elsevier.com/app/contact/supporthub/engineering-village/</a:t>
            </a:r>
            <a:endParaRPr lang="en-US" sz="1050" u="sng" dirty="0"/>
          </a:p>
          <a:p>
            <a:pPr>
              <a:defRPr/>
            </a:pPr>
            <a:r>
              <a:rPr lang="en-US" altLang="zh-CN" sz="1050" b="1" dirty="0">
                <a:solidFill>
                  <a:schemeClr val="tx2"/>
                </a:solidFill>
              </a:rPr>
              <a:t>For Author</a:t>
            </a:r>
            <a:r>
              <a:rPr lang="en-US" sz="1050" b="1" dirty="0">
                <a:solidFill>
                  <a:schemeClr val="tx2"/>
                </a:solidFill>
              </a:rPr>
              <a:t>: </a:t>
            </a:r>
            <a:r>
              <a:rPr lang="en-US" sz="1050" dirty="0">
                <a:hlinkClick r:id="rId8"/>
              </a:rPr>
              <a:t>editorial@engineeringvillage.com</a:t>
            </a:r>
            <a:endParaRPr lang="en-US" sz="1050" dirty="0"/>
          </a:p>
          <a:p>
            <a:pPr>
              <a:defRPr/>
            </a:pPr>
            <a:r>
              <a:rPr lang="en-US" altLang="zh-CN" sz="1050" b="1" dirty="0">
                <a:solidFill>
                  <a:schemeClr val="tx2"/>
                </a:solidFill>
              </a:rPr>
              <a:t>For Publishers</a:t>
            </a:r>
            <a:r>
              <a:rPr lang="zh-CN" altLang="en-US" sz="1050" b="1" dirty="0">
                <a:solidFill>
                  <a:schemeClr val="tx2"/>
                </a:solidFill>
              </a:rPr>
              <a:t>：</a:t>
            </a:r>
            <a:r>
              <a:rPr lang="en-US" sz="1050" u="sng" dirty="0">
                <a:hlinkClick r:id="rId9"/>
              </a:rPr>
              <a:t>titlesuggestion@engineeringvillage.com</a:t>
            </a:r>
            <a:endParaRPr lang="en-US" sz="1050" dirty="0"/>
          </a:p>
        </p:txBody>
      </p:sp>
      <p:sp>
        <p:nvSpPr>
          <p:cNvPr id="3" name="Rectangle 2"/>
          <p:cNvSpPr/>
          <p:nvPr/>
        </p:nvSpPr>
        <p:spPr>
          <a:xfrm>
            <a:off x="1368028" y="1609725"/>
            <a:ext cx="2842022" cy="247650"/>
          </a:xfrm>
          <a:prstGeom prst="rect">
            <a:avLst/>
          </a:prstGeom>
          <a:solidFill>
            <a:schemeClr val="bg1"/>
          </a:solidFill>
          <a:ln>
            <a:solidFill>
              <a:schemeClr val="bg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5" name="Rectangle 4"/>
          <p:cNvSpPr/>
          <p:nvPr/>
        </p:nvSpPr>
        <p:spPr>
          <a:xfrm>
            <a:off x="1361820" y="4782750"/>
            <a:ext cx="2842022" cy="247650"/>
          </a:xfrm>
          <a:prstGeom prst="rect">
            <a:avLst/>
          </a:prstGeom>
          <a:solidFill>
            <a:schemeClr val="bg1"/>
          </a:solidFill>
          <a:ln>
            <a:solidFill>
              <a:schemeClr val="bg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60777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7878" y="1337137"/>
            <a:ext cx="4088689" cy="3806363"/>
          </a:xfrm>
          <a:prstGeom prst="rect">
            <a:avLst/>
          </a:prstGeom>
        </p:spPr>
      </p:pic>
      <p:sp>
        <p:nvSpPr>
          <p:cNvPr id="33" name="object 33"/>
          <p:cNvSpPr/>
          <p:nvPr/>
        </p:nvSpPr>
        <p:spPr>
          <a:xfrm>
            <a:off x="337797" y="982697"/>
            <a:ext cx="8469014" cy="0"/>
          </a:xfrm>
          <a:custGeom>
            <a:avLst/>
            <a:gdLst/>
            <a:ahLst/>
            <a:cxnLst/>
            <a:rect l="l" t="t" r="r" b="b"/>
            <a:pathLst>
              <a:path w="18621375">
                <a:moveTo>
                  <a:pt x="0" y="0"/>
                </a:moveTo>
                <a:lnTo>
                  <a:pt x="18621265" y="0"/>
                </a:lnTo>
              </a:path>
            </a:pathLst>
          </a:custGeom>
          <a:ln w="30679">
            <a:solidFill>
              <a:srgbClr val="008BCB"/>
            </a:solidFill>
          </a:ln>
        </p:spPr>
        <p:txBody>
          <a:bodyPr wrap="square" lIns="0" tIns="0" rIns="0" bIns="0" rtlCol="0"/>
          <a:lstStyle/>
          <a:p>
            <a:endParaRPr sz="373"/>
          </a:p>
        </p:txBody>
      </p:sp>
      <p:sp>
        <p:nvSpPr>
          <p:cNvPr id="60" name="object 2"/>
          <p:cNvSpPr txBox="1"/>
          <p:nvPr/>
        </p:nvSpPr>
        <p:spPr>
          <a:xfrm>
            <a:off x="332022" y="498816"/>
            <a:ext cx="4443453" cy="378745"/>
          </a:xfrm>
          <a:prstGeom prst="rect">
            <a:avLst/>
          </a:prstGeom>
        </p:spPr>
        <p:txBody>
          <a:bodyPr vert="horz" wrap="square" lIns="0" tIns="7798" rIns="0" bIns="0" rtlCol="0">
            <a:spAutoFit/>
          </a:bodyPr>
          <a:lstStyle>
            <a:lvl1pPr>
              <a:defRPr>
                <a:latin typeface="+mj-lt"/>
                <a:ea typeface="+mj-ea"/>
                <a:cs typeface="+mj-cs"/>
              </a:defRPr>
            </a:lvl1pPr>
          </a:lstStyle>
          <a:p>
            <a:pPr marL="5776" defTabSz="415869">
              <a:spcBef>
                <a:spcPts val="61"/>
              </a:spcBef>
            </a:pPr>
            <a:r>
              <a:rPr lang="en-GB" sz="2410" kern="0" spc="11" dirty="0">
                <a:solidFill>
                  <a:sysClr val="windowText" lastClr="000000"/>
                </a:solidFill>
                <a:latin typeface="Arial" panose="020B0604020202020204" pitchFamily="34" charset="0"/>
                <a:cs typeface="Arial" panose="020B0604020202020204" pitchFamily="34" charset="0"/>
              </a:rPr>
              <a:t>INSPEC</a:t>
            </a:r>
            <a:r>
              <a:rPr lang="zh-CN" altLang="en-US" sz="2410" kern="0" spc="11" dirty="0">
                <a:solidFill>
                  <a:sysClr val="windowText" lastClr="000000"/>
                </a:solidFill>
                <a:latin typeface="Arial" panose="020B0604020202020204" pitchFamily="34" charset="0"/>
                <a:cs typeface="Arial" panose="020B0604020202020204" pitchFamily="34" charset="0"/>
              </a:rPr>
              <a:t>收录内容</a:t>
            </a:r>
            <a:endParaRPr lang="en-GB" sz="2410" kern="0" spc="11" dirty="0">
              <a:solidFill>
                <a:sysClr val="windowText" lastClr="000000"/>
              </a:solidFill>
              <a:latin typeface="Arial" panose="020B0604020202020204" pitchFamily="34" charset="0"/>
              <a:cs typeface="Arial" panose="020B0604020202020204" pitchFamily="34" charset="0"/>
            </a:endParaRPr>
          </a:p>
        </p:txBody>
      </p:sp>
      <p:sp>
        <p:nvSpPr>
          <p:cNvPr id="116" name="TextBox 115"/>
          <p:cNvSpPr txBox="1"/>
          <p:nvPr/>
        </p:nvSpPr>
        <p:spPr>
          <a:xfrm>
            <a:off x="586582" y="3056932"/>
            <a:ext cx="1183415" cy="512320"/>
          </a:xfrm>
          <a:prstGeom prst="rect">
            <a:avLst/>
          </a:prstGeom>
          <a:noFill/>
        </p:spPr>
        <p:txBody>
          <a:bodyPr wrap="square" rtlCol="0">
            <a:spAutoFit/>
          </a:bodyPr>
          <a:lstStyle/>
          <a:p>
            <a:pPr algn="ctr"/>
            <a:r>
              <a:rPr lang="en-US" sz="2729" b="1" dirty="0">
                <a:solidFill>
                  <a:srgbClr val="8DC63F"/>
                </a:solidFill>
                <a:latin typeface="Arial" panose="020B0604020202020204" pitchFamily="34" charset="0"/>
                <a:cs typeface="Arial" panose="020B0604020202020204" pitchFamily="34" charset="0"/>
              </a:rPr>
              <a:t>18.6m </a:t>
            </a:r>
          </a:p>
        </p:txBody>
      </p:sp>
      <p:sp>
        <p:nvSpPr>
          <p:cNvPr id="117" name="Rectangle 116"/>
          <p:cNvSpPr/>
          <p:nvPr/>
        </p:nvSpPr>
        <p:spPr>
          <a:xfrm>
            <a:off x="1695567" y="3279633"/>
            <a:ext cx="1231103" cy="229743"/>
          </a:xfrm>
          <a:prstGeom prst="rect">
            <a:avLst/>
          </a:prstGeom>
        </p:spPr>
        <p:txBody>
          <a:bodyPr wrap="square">
            <a:spAutoFit/>
          </a:bodyPr>
          <a:lstStyle/>
          <a:p>
            <a:pPr algn="ctr">
              <a:lnSpc>
                <a:spcPct val="120000"/>
              </a:lnSpc>
              <a:spcBef>
                <a:spcPct val="25000"/>
              </a:spcBef>
            </a:pPr>
            <a:r>
              <a:rPr lang="en-GB" altLang="en-US" sz="819" dirty="0">
                <a:solidFill>
                  <a:srgbClr val="000000"/>
                </a:solidFill>
                <a:latin typeface="Arial" panose="020B0604020202020204" pitchFamily="34" charset="0"/>
                <a:cs typeface="Arial" panose="020B0604020202020204" pitchFamily="34" charset="0"/>
              </a:rPr>
              <a:t>records  (Ma</a:t>
            </a:r>
            <a:r>
              <a:rPr lang="en-US" altLang="zh-CN" sz="819" dirty="0">
                <a:solidFill>
                  <a:srgbClr val="000000"/>
                </a:solidFill>
                <a:latin typeface="Arial" panose="020B0604020202020204" pitchFamily="34" charset="0"/>
                <a:cs typeface="Arial" panose="020B0604020202020204" pitchFamily="34" charset="0"/>
              </a:rPr>
              <a:t>y</a:t>
            </a:r>
            <a:r>
              <a:rPr lang="en-GB" altLang="en-US" sz="819" dirty="0">
                <a:solidFill>
                  <a:srgbClr val="000000"/>
                </a:solidFill>
                <a:latin typeface="Arial" panose="020B0604020202020204" pitchFamily="34" charset="0"/>
                <a:cs typeface="Arial" panose="020B0604020202020204" pitchFamily="34" charset="0"/>
              </a:rPr>
              <a:t> 2019)</a:t>
            </a:r>
          </a:p>
        </p:txBody>
      </p:sp>
      <p:sp>
        <p:nvSpPr>
          <p:cNvPr id="118" name="Freeform 23"/>
          <p:cNvSpPr>
            <a:spLocks noEditPoints="1"/>
          </p:cNvSpPr>
          <p:nvPr/>
        </p:nvSpPr>
        <p:spPr bwMode="auto">
          <a:xfrm>
            <a:off x="3145053" y="3228999"/>
            <a:ext cx="491240" cy="483770"/>
          </a:xfrm>
          <a:custGeom>
            <a:avLst/>
            <a:gdLst>
              <a:gd name="T0" fmla="*/ 863 w 3162"/>
              <a:gd name="T1" fmla="*/ 1499 h 3009"/>
              <a:gd name="T2" fmla="*/ 881 w 3162"/>
              <a:gd name="T3" fmla="*/ 1377 h 3009"/>
              <a:gd name="T4" fmla="*/ 1226 w 3162"/>
              <a:gd name="T5" fmla="*/ 1337 h 3009"/>
              <a:gd name="T6" fmla="*/ 2367 w 3162"/>
              <a:gd name="T7" fmla="*/ 1128 h 3009"/>
              <a:gd name="T8" fmla="*/ 2367 w 3162"/>
              <a:gd name="T9" fmla="*/ 1041 h 3009"/>
              <a:gd name="T10" fmla="*/ 2406 w 3162"/>
              <a:gd name="T11" fmla="*/ 919 h 3009"/>
              <a:gd name="T12" fmla="*/ 1504 w 3162"/>
              <a:gd name="T13" fmla="*/ 1397 h 3009"/>
              <a:gd name="T14" fmla="*/ 860 w 3162"/>
              <a:gd name="T15" fmla="*/ 1559 h 3009"/>
              <a:gd name="T16" fmla="*/ 886 w 3162"/>
              <a:gd name="T17" fmla="*/ 1786 h 3009"/>
              <a:gd name="T18" fmla="*/ 1385 w 3162"/>
              <a:gd name="T19" fmla="*/ 1363 h 3009"/>
              <a:gd name="T20" fmla="*/ 1606 w 3162"/>
              <a:gd name="T21" fmla="*/ 1258 h 3009"/>
              <a:gd name="T22" fmla="*/ 2074 w 3162"/>
              <a:gd name="T23" fmla="*/ 775 h 3009"/>
              <a:gd name="T24" fmla="*/ 2009 w 3162"/>
              <a:gd name="T25" fmla="*/ 787 h 3009"/>
              <a:gd name="T26" fmla="*/ 1476 w 3162"/>
              <a:gd name="T27" fmla="*/ 1331 h 3009"/>
              <a:gd name="T28" fmla="*/ 413 w 3162"/>
              <a:gd name="T29" fmla="*/ 998 h 3009"/>
              <a:gd name="T30" fmla="*/ 439 w 3162"/>
              <a:gd name="T31" fmla="*/ 894 h 3009"/>
              <a:gd name="T32" fmla="*/ 446 w 3162"/>
              <a:gd name="T33" fmla="*/ 812 h 3009"/>
              <a:gd name="T34" fmla="*/ 421 w 3162"/>
              <a:gd name="T35" fmla="*/ 647 h 3009"/>
              <a:gd name="T36" fmla="*/ 1476 w 3162"/>
              <a:gd name="T37" fmla="*/ 931 h 3009"/>
              <a:gd name="T38" fmla="*/ 2173 w 3162"/>
              <a:gd name="T39" fmla="*/ 286 h 3009"/>
              <a:gd name="T40" fmla="*/ 1163 w 3162"/>
              <a:gd name="T41" fmla="*/ 1291 h 3009"/>
              <a:gd name="T42" fmla="*/ 2366 w 3162"/>
              <a:gd name="T43" fmla="*/ 1336 h 3009"/>
              <a:gd name="T44" fmla="*/ 1976 w 3162"/>
              <a:gd name="T45" fmla="*/ 2647 h 3009"/>
              <a:gd name="T46" fmla="*/ 1186 w 3162"/>
              <a:gd name="T47" fmla="*/ 3003 h 3009"/>
              <a:gd name="T48" fmla="*/ 2030 w 3162"/>
              <a:gd name="T49" fmla="*/ 2638 h 3009"/>
              <a:gd name="T50" fmla="*/ 2074 w 3162"/>
              <a:gd name="T51" fmla="*/ 2001 h 3009"/>
              <a:gd name="T52" fmla="*/ 1754 w 3162"/>
              <a:gd name="T53" fmla="*/ 2021 h 3009"/>
              <a:gd name="T54" fmla="*/ 1390 w 3162"/>
              <a:gd name="T55" fmla="*/ 2870 h 3009"/>
              <a:gd name="T56" fmla="*/ 1791 w 3162"/>
              <a:gd name="T57" fmla="*/ 2186 h 3009"/>
              <a:gd name="T58" fmla="*/ 2405 w 3162"/>
              <a:gd name="T59" fmla="*/ 1584 h 3009"/>
              <a:gd name="T60" fmla="*/ 344 w 3162"/>
              <a:gd name="T61" fmla="*/ 1051 h 3009"/>
              <a:gd name="T62" fmla="*/ 2405 w 3162"/>
              <a:gd name="T63" fmla="*/ 1584 h 3009"/>
              <a:gd name="T64" fmla="*/ 1449 w 3162"/>
              <a:gd name="T65" fmla="*/ 996 h 3009"/>
              <a:gd name="T66" fmla="*/ 689 w 3162"/>
              <a:gd name="T67" fmla="*/ 802 h 3009"/>
              <a:gd name="T68" fmla="*/ 2125 w 3162"/>
              <a:gd name="T69" fmla="*/ 393 h 3009"/>
              <a:gd name="T70" fmla="*/ 2815 w 3162"/>
              <a:gd name="T71" fmla="*/ 947 h 3009"/>
              <a:gd name="T72" fmla="*/ 2193 w 3162"/>
              <a:gd name="T73" fmla="*/ 2078 h 3009"/>
              <a:gd name="T74" fmla="*/ 3124 w 3162"/>
              <a:gd name="T75" fmla="*/ 1464 h 3009"/>
              <a:gd name="T76" fmla="*/ 2087 w 3162"/>
              <a:gd name="T77" fmla="*/ 2070 h 3009"/>
              <a:gd name="T78" fmla="*/ 1988 w 3162"/>
              <a:gd name="T79" fmla="*/ 2493 h 3009"/>
              <a:gd name="T80" fmla="*/ 793 w 3162"/>
              <a:gd name="T81" fmla="*/ 777 h 3009"/>
              <a:gd name="T82" fmla="*/ 854 w 3162"/>
              <a:gd name="T83" fmla="*/ 780 h 3009"/>
              <a:gd name="T84" fmla="*/ 1555 w 3162"/>
              <a:gd name="T85" fmla="*/ 1181 h 3009"/>
              <a:gd name="T86" fmla="*/ 1291 w 3162"/>
              <a:gd name="T87" fmla="*/ 1236 h 3009"/>
              <a:gd name="T88" fmla="*/ 1435 w 3162"/>
              <a:gd name="T89" fmla="*/ 1293 h 3009"/>
              <a:gd name="T90" fmla="*/ 1983 w 3162"/>
              <a:gd name="T91" fmla="*/ 779 h 3009"/>
              <a:gd name="T92" fmla="*/ 1971 w 3162"/>
              <a:gd name="T93" fmla="*/ 757 h 3009"/>
              <a:gd name="T94" fmla="*/ 1483 w 3162"/>
              <a:gd name="T95" fmla="*/ 1196 h 3009"/>
              <a:gd name="T96" fmla="*/ 1407 w 3162"/>
              <a:gd name="T97" fmla="*/ 1240 h 3009"/>
              <a:gd name="T98" fmla="*/ 1971 w 3162"/>
              <a:gd name="T99" fmla="*/ 740 h 3009"/>
              <a:gd name="T100" fmla="*/ 1881 w 3162"/>
              <a:gd name="T101" fmla="*/ 745 h 3009"/>
              <a:gd name="T102" fmla="*/ 464 w 3162"/>
              <a:gd name="T103" fmla="*/ 888 h 3009"/>
              <a:gd name="T104" fmla="*/ 2125 w 3162"/>
              <a:gd name="T105" fmla="*/ 538 h 3009"/>
              <a:gd name="T106" fmla="*/ 1450 w 3162"/>
              <a:gd name="T107" fmla="*/ 1112 h 3009"/>
              <a:gd name="T108" fmla="*/ 487 w 3162"/>
              <a:gd name="T109" fmla="*/ 849 h 3009"/>
              <a:gd name="T110" fmla="*/ 1880 w 3162"/>
              <a:gd name="T111" fmla="*/ 727 h 3009"/>
              <a:gd name="T112" fmla="*/ 1814 w 3162"/>
              <a:gd name="T113" fmla="*/ 705 h 3009"/>
              <a:gd name="T114" fmla="*/ 468 w 3162"/>
              <a:gd name="T115" fmla="*/ 766 h 3009"/>
              <a:gd name="T116" fmla="*/ 1456 w 3162"/>
              <a:gd name="T117" fmla="*/ 1081 h 3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2" h="3009">
                <a:moveTo>
                  <a:pt x="2367" y="1159"/>
                </a:moveTo>
                <a:cubicBezTo>
                  <a:pt x="1576" y="1323"/>
                  <a:pt x="1576" y="1323"/>
                  <a:pt x="1576" y="1323"/>
                </a:cubicBezTo>
                <a:cubicBezTo>
                  <a:pt x="1542" y="1358"/>
                  <a:pt x="1542" y="1358"/>
                  <a:pt x="1542" y="1358"/>
                </a:cubicBezTo>
                <a:cubicBezTo>
                  <a:pt x="2367" y="1187"/>
                  <a:pt x="2367" y="1187"/>
                  <a:pt x="2367" y="1187"/>
                </a:cubicBezTo>
                <a:lnTo>
                  <a:pt x="2367" y="1159"/>
                </a:lnTo>
                <a:close/>
                <a:moveTo>
                  <a:pt x="863" y="1499"/>
                </a:moveTo>
                <a:cubicBezTo>
                  <a:pt x="1390" y="1389"/>
                  <a:pt x="1390" y="1389"/>
                  <a:pt x="1390" y="1389"/>
                </a:cubicBezTo>
                <a:cubicBezTo>
                  <a:pt x="1338" y="1372"/>
                  <a:pt x="1338" y="1372"/>
                  <a:pt x="1338" y="1372"/>
                </a:cubicBezTo>
                <a:cubicBezTo>
                  <a:pt x="866" y="1470"/>
                  <a:pt x="866" y="1470"/>
                  <a:pt x="866" y="1470"/>
                </a:cubicBezTo>
                <a:cubicBezTo>
                  <a:pt x="865" y="1480"/>
                  <a:pt x="864" y="1489"/>
                  <a:pt x="863" y="1499"/>
                </a:cubicBezTo>
                <a:close/>
                <a:moveTo>
                  <a:pt x="887" y="1348"/>
                </a:moveTo>
                <a:cubicBezTo>
                  <a:pt x="885" y="1358"/>
                  <a:pt x="883" y="1368"/>
                  <a:pt x="881" y="1377"/>
                </a:cubicBezTo>
                <a:cubicBezTo>
                  <a:pt x="1168" y="1318"/>
                  <a:pt x="1168" y="1318"/>
                  <a:pt x="1168" y="1318"/>
                </a:cubicBezTo>
                <a:cubicBezTo>
                  <a:pt x="1115" y="1301"/>
                  <a:pt x="1115" y="1301"/>
                  <a:pt x="1115" y="1301"/>
                </a:cubicBezTo>
                <a:lnTo>
                  <a:pt x="887" y="1348"/>
                </a:lnTo>
                <a:close/>
                <a:moveTo>
                  <a:pt x="871" y="1438"/>
                </a:moveTo>
                <a:cubicBezTo>
                  <a:pt x="1279" y="1354"/>
                  <a:pt x="1279" y="1354"/>
                  <a:pt x="1279" y="1354"/>
                </a:cubicBezTo>
                <a:cubicBezTo>
                  <a:pt x="1226" y="1337"/>
                  <a:pt x="1226" y="1337"/>
                  <a:pt x="1226" y="1337"/>
                </a:cubicBezTo>
                <a:cubicBezTo>
                  <a:pt x="875" y="1409"/>
                  <a:pt x="875" y="1409"/>
                  <a:pt x="875" y="1409"/>
                </a:cubicBezTo>
                <a:cubicBezTo>
                  <a:pt x="874" y="1419"/>
                  <a:pt x="872" y="1429"/>
                  <a:pt x="871" y="1438"/>
                </a:cubicBezTo>
                <a:close/>
                <a:moveTo>
                  <a:pt x="2367" y="1100"/>
                </a:moveTo>
                <a:cubicBezTo>
                  <a:pt x="1648" y="1249"/>
                  <a:pt x="1648" y="1249"/>
                  <a:pt x="1648" y="1249"/>
                </a:cubicBezTo>
                <a:cubicBezTo>
                  <a:pt x="1614" y="1284"/>
                  <a:pt x="1614" y="1284"/>
                  <a:pt x="1614" y="1284"/>
                </a:cubicBezTo>
                <a:cubicBezTo>
                  <a:pt x="2367" y="1128"/>
                  <a:pt x="2367" y="1128"/>
                  <a:pt x="2367" y="1128"/>
                </a:cubicBezTo>
                <a:lnTo>
                  <a:pt x="2367" y="1100"/>
                </a:lnTo>
                <a:close/>
                <a:moveTo>
                  <a:pt x="2367" y="1041"/>
                </a:moveTo>
                <a:cubicBezTo>
                  <a:pt x="1719" y="1175"/>
                  <a:pt x="1719" y="1175"/>
                  <a:pt x="1719" y="1175"/>
                </a:cubicBezTo>
                <a:cubicBezTo>
                  <a:pt x="1686" y="1210"/>
                  <a:pt x="1686" y="1210"/>
                  <a:pt x="1686" y="1210"/>
                </a:cubicBezTo>
                <a:cubicBezTo>
                  <a:pt x="2367" y="1069"/>
                  <a:pt x="2367" y="1069"/>
                  <a:pt x="2367" y="1069"/>
                </a:cubicBezTo>
                <a:lnTo>
                  <a:pt x="2367" y="1041"/>
                </a:lnTo>
                <a:close/>
                <a:moveTo>
                  <a:pt x="2366" y="1395"/>
                </a:moveTo>
                <a:cubicBezTo>
                  <a:pt x="871" y="1706"/>
                  <a:pt x="871" y="1706"/>
                  <a:pt x="871" y="1706"/>
                </a:cubicBezTo>
                <a:cubicBezTo>
                  <a:pt x="872" y="1715"/>
                  <a:pt x="874" y="1724"/>
                  <a:pt x="875" y="1733"/>
                </a:cubicBezTo>
                <a:cubicBezTo>
                  <a:pt x="2366" y="1423"/>
                  <a:pt x="2366" y="1423"/>
                  <a:pt x="2366" y="1423"/>
                </a:cubicBezTo>
                <a:lnTo>
                  <a:pt x="2366" y="1395"/>
                </a:lnTo>
                <a:close/>
                <a:moveTo>
                  <a:pt x="2406" y="919"/>
                </a:moveTo>
                <a:cubicBezTo>
                  <a:pt x="2074" y="809"/>
                  <a:pt x="2074" y="809"/>
                  <a:pt x="2074" y="809"/>
                </a:cubicBezTo>
                <a:cubicBezTo>
                  <a:pt x="1754" y="1140"/>
                  <a:pt x="1754" y="1140"/>
                  <a:pt x="1754" y="1140"/>
                </a:cubicBezTo>
                <a:cubicBezTo>
                  <a:pt x="2405" y="1005"/>
                  <a:pt x="2405" y="1005"/>
                  <a:pt x="2405" y="1005"/>
                </a:cubicBezTo>
                <a:lnTo>
                  <a:pt x="2406" y="919"/>
                </a:lnTo>
                <a:close/>
                <a:moveTo>
                  <a:pt x="2367" y="1218"/>
                </a:moveTo>
                <a:cubicBezTo>
                  <a:pt x="1504" y="1397"/>
                  <a:pt x="1504" y="1397"/>
                  <a:pt x="1504" y="1397"/>
                </a:cubicBezTo>
                <a:cubicBezTo>
                  <a:pt x="1493" y="1409"/>
                  <a:pt x="1493" y="1409"/>
                  <a:pt x="1493" y="1409"/>
                </a:cubicBezTo>
                <a:cubicBezTo>
                  <a:pt x="1483" y="1419"/>
                  <a:pt x="1483" y="1419"/>
                  <a:pt x="1483" y="1419"/>
                </a:cubicBezTo>
                <a:cubicBezTo>
                  <a:pt x="1468" y="1415"/>
                  <a:pt x="1468" y="1415"/>
                  <a:pt x="1468" y="1415"/>
                </a:cubicBezTo>
                <a:cubicBezTo>
                  <a:pt x="1449" y="1408"/>
                  <a:pt x="1449" y="1408"/>
                  <a:pt x="1449" y="1408"/>
                </a:cubicBezTo>
                <a:cubicBezTo>
                  <a:pt x="861" y="1530"/>
                  <a:pt x="861" y="1530"/>
                  <a:pt x="861" y="1530"/>
                </a:cubicBezTo>
                <a:cubicBezTo>
                  <a:pt x="861" y="1540"/>
                  <a:pt x="860" y="1549"/>
                  <a:pt x="860" y="1559"/>
                </a:cubicBezTo>
                <a:cubicBezTo>
                  <a:pt x="2367" y="1246"/>
                  <a:pt x="2367" y="1246"/>
                  <a:pt x="2367" y="1246"/>
                </a:cubicBezTo>
                <a:lnTo>
                  <a:pt x="2367" y="1218"/>
                </a:lnTo>
                <a:close/>
                <a:moveTo>
                  <a:pt x="2366" y="1479"/>
                </a:moveTo>
                <a:cubicBezTo>
                  <a:pt x="2366" y="1454"/>
                  <a:pt x="2366" y="1454"/>
                  <a:pt x="2366" y="1454"/>
                </a:cubicBezTo>
                <a:cubicBezTo>
                  <a:pt x="881" y="1763"/>
                  <a:pt x="881" y="1763"/>
                  <a:pt x="881" y="1763"/>
                </a:cubicBezTo>
                <a:cubicBezTo>
                  <a:pt x="883" y="1770"/>
                  <a:pt x="884" y="1778"/>
                  <a:pt x="886" y="1786"/>
                </a:cubicBezTo>
                <a:lnTo>
                  <a:pt x="2366" y="1479"/>
                </a:lnTo>
                <a:close/>
                <a:moveTo>
                  <a:pt x="1163" y="1291"/>
                </a:moveTo>
                <a:cubicBezTo>
                  <a:pt x="1215" y="1308"/>
                  <a:pt x="1215" y="1308"/>
                  <a:pt x="1215" y="1308"/>
                </a:cubicBezTo>
                <a:cubicBezTo>
                  <a:pt x="1274" y="1327"/>
                  <a:pt x="1274" y="1327"/>
                  <a:pt x="1274" y="1327"/>
                </a:cubicBezTo>
                <a:cubicBezTo>
                  <a:pt x="1326" y="1344"/>
                  <a:pt x="1326" y="1344"/>
                  <a:pt x="1326" y="1344"/>
                </a:cubicBezTo>
                <a:cubicBezTo>
                  <a:pt x="1385" y="1363"/>
                  <a:pt x="1385" y="1363"/>
                  <a:pt x="1385" y="1363"/>
                </a:cubicBezTo>
                <a:cubicBezTo>
                  <a:pt x="1437" y="1380"/>
                  <a:pt x="1437" y="1380"/>
                  <a:pt x="1437" y="1380"/>
                </a:cubicBezTo>
                <a:cubicBezTo>
                  <a:pt x="1476" y="1392"/>
                  <a:pt x="1476" y="1392"/>
                  <a:pt x="1476" y="1392"/>
                </a:cubicBezTo>
                <a:cubicBezTo>
                  <a:pt x="1501" y="1367"/>
                  <a:pt x="1501" y="1367"/>
                  <a:pt x="1501" y="1367"/>
                </a:cubicBezTo>
                <a:cubicBezTo>
                  <a:pt x="1534" y="1332"/>
                  <a:pt x="1534" y="1332"/>
                  <a:pt x="1534" y="1332"/>
                </a:cubicBezTo>
                <a:cubicBezTo>
                  <a:pt x="1572" y="1293"/>
                  <a:pt x="1572" y="1293"/>
                  <a:pt x="1572" y="1293"/>
                </a:cubicBezTo>
                <a:cubicBezTo>
                  <a:pt x="1606" y="1258"/>
                  <a:pt x="1606" y="1258"/>
                  <a:pt x="1606" y="1258"/>
                </a:cubicBezTo>
                <a:cubicBezTo>
                  <a:pt x="1644" y="1219"/>
                  <a:pt x="1644" y="1219"/>
                  <a:pt x="1644" y="1219"/>
                </a:cubicBezTo>
                <a:cubicBezTo>
                  <a:pt x="1678" y="1184"/>
                  <a:pt x="1678" y="1184"/>
                  <a:pt x="1678" y="1184"/>
                </a:cubicBezTo>
                <a:cubicBezTo>
                  <a:pt x="1712" y="1148"/>
                  <a:pt x="1712" y="1148"/>
                  <a:pt x="1712" y="1148"/>
                </a:cubicBezTo>
                <a:cubicBezTo>
                  <a:pt x="2049" y="801"/>
                  <a:pt x="2049" y="801"/>
                  <a:pt x="2049" y="801"/>
                </a:cubicBezTo>
                <a:cubicBezTo>
                  <a:pt x="2062" y="788"/>
                  <a:pt x="2062" y="788"/>
                  <a:pt x="2062" y="788"/>
                </a:cubicBezTo>
                <a:cubicBezTo>
                  <a:pt x="2074" y="775"/>
                  <a:pt x="2074" y="775"/>
                  <a:pt x="2074" y="775"/>
                </a:cubicBezTo>
                <a:cubicBezTo>
                  <a:pt x="2173" y="673"/>
                  <a:pt x="2173" y="673"/>
                  <a:pt x="2173" y="673"/>
                </a:cubicBezTo>
                <a:cubicBezTo>
                  <a:pt x="2173" y="620"/>
                  <a:pt x="2173" y="620"/>
                  <a:pt x="2173" y="620"/>
                </a:cubicBezTo>
                <a:cubicBezTo>
                  <a:pt x="2150" y="643"/>
                  <a:pt x="2150" y="643"/>
                  <a:pt x="2150" y="643"/>
                </a:cubicBezTo>
                <a:cubicBezTo>
                  <a:pt x="2034" y="761"/>
                  <a:pt x="2034" y="761"/>
                  <a:pt x="2034" y="761"/>
                </a:cubicBezTo>
                <a:cubicBezTo>
                  <a:pt x="2022" y="774"/>
                  <a:pt x="2022" y="774"/>
                  <a:pt x="2022" y="774"/>
                </a:cubicBezTo>
                <a:cubicBezTo>
                  <a:pt x="2009" y="787"/>
                  <a:pt x="2009" y="787"/>
                  <a:pt x="2009" y="787"/>
                </a:cubicBezTo>
                <a:cubicBezTo>
                  <a:pt x="1640" y="1163"/>
                  <a:pt x="1640" y="1163"/>
                  <a:pt x="1640" y="1163"/>
                </a:cubicBezTo>
                <a:cubicBezTo>
                  <a:pt x="1605" y="1199"/>
                  <a:pt x="1605" y="1199"/>
                  <a:pt x="1605" y="1199"/>
                </a:cubicBezTo>
                <a:cubicBezTo>
                  <a:pt x="1571" y="1234"/>
                  <a:pt x="1571" y="1234"/>
                  <a:pt x="1571" y="1234"/>
                </a:cubicBezTo>
                <a:cubicBezTo>
                  <a:pt x="1533" y="1273"/>
                  <a:pt x="1533" y="1273"/>
                  <a:pt x="1533" y="1273"/>
                </a:cubicBezTo>
                <a:cubicBezTo>
                  <a:pt x="1499" y="1308"/>
                  <a:pt x="1499" y="1308"/>
                  <a:pt x="1499" y="1308"/>
                </a:cubicBezTo>
                <a:cubicBezTo>
                  <a:pt x="1476" y="1331"/>
                  <a:pt x="1476" y="1331"/>
                  <a:pt x="1476" y="1331"/>
                </a:cubicBezTo>
                <a:cubicBezTo>
                  <a:pt x="1440" y="1320"/>
                  <a:pt x="1440" y="1320"/>
                  <a:pt x="1440" y="1320"/>
                </a:cubicBezTo>
                <a:cubicBezTo>
                  <a:pt x="1387" y="1303"/>
                  <a:pt x="1387" y="1303"/>
                  <a:pt x="1387" y="1303"/>
                </a:cubicBezTo>
                <a:cubicBezTo>
                  <a:pt x="1327" y="1284"/>
                  <a:pt x="1327" y="1284"/>
                  <a:pt x="1327" y="1284"/>
                </a:cubicBezTo>
                <a:cubicBezTo>
                  <a:pt x="1274" y="1268"/>
                  <a:pt x="1274" y="1268"/>
                  <a:pt x="1274" y="1268"/>
                </a:cubicBezTo>
                <a:cubicBezTo>
                  <a:pt x="1219" y="1251"/>
                  <a:pt x="1219" y="1251"/>
                  <a:pt x="1219" y="1251"/>
                </a:cubicBezTo>
                <a:cubicBezTo>
                  <a:pt x="413" y="998"/>
                  <a:pt x="413" y="998"/>
                  <a:pt x="413" y="998"/>
                </a:cubicBezTo>
                <a:cubicBezTo>
                  <a:pt x="413" y="996"/>
                  <a:pt x="413" y="996"/>
                  <a:pt x="413" y="996"/>
                </a:cubicBezTo>
                <a:cubicBezTo>
                  <a:pt x="415" y="993"/>
                  <a:pt x="416" y="989"/>
                  <a:pt x="417" y="985"/>
                </a:cubicBezTo>
                <a:cubicBezTo>
                  <a:pt x="420" y="978"/>
                  <a:pt x="422" y="970"/>
                  <a:pt x="424" y="962"/>
                </a:cubicBezTo>
                <a:cubicBezTo>
                  <a:pt x="427" y="954"/>
                  <a:pt x="429" y="946"/>
                  <a:pt x="431" y="937"/>
                </a:cubicBezTo>
                <a:cubicBezTo>
                  <a:pt x="433" y="929"/>
                  <a:pt x="434" y="921"/>
                  <a:pt x="436" y="913"/>
                </a:cubicBezTo>
                <a:cubicBezTo>
                  <a:pt x="437" y="907"/>
                  <a:pt x="438" y="901"/>
                  <a:pt x="439" y="894"/>
                </a:cubicBezTo>
                <a:cubicBezTo>
                  <a:pt x="439" y="892"/>
                  <a:pt x="439" y="890"/>
                  <a:pt x="440" y="887"/>
                </a:cubicBezTo>
                <a:cubicBezTo>
                  <a:pt x="440" y="884"/>
                  <a:pt x="441" y="880"/>
                  <a:pt x="441" y="877"/>
                </a:cubicBezTo>
                <a:cubicBezTo>
                  <a:pt x="442" y="872"/>
                  <a:pt x="443" y="868"/>
                  <a:pt x="443" y="863"/>
                </a:cubicBezTo>
                <a:cubicBezTo>
                  <a:pt x="443" y="862"/>
                  <a:pt x="443" y="861"/>
                  <a:pt x="443" y="859"/>
                </a:cubicBezTo>
                <a:cubicBezTo>
                  <a:pt x="444" y="852"/>
                  <a:pt x="444" y="844"/>
                  <a:pt x="445" y="836"/>
                </a:cubicBezTo>
                <a:cubicBezTo>
                  <a:pt x="445" y="828"/>
                  <a:pt x="446" y="820"/>
                  <a:pt x="446" y="812"/>
                </a:cubicBezTo>
                <a:cubicBezTo>
                  <a:pt x="446" y="802"/>
                  <a:pt x="446" y="793"/>
                  <a:pt x="445" y="784"/>
                </a:cubicBezTo>
                <a:cubicBezTo>
                  <a:pt x="445" y="776"/>
                  <a:pt x="445" y="767"/>
                  <a:pt x="445" y="759"/>
                </a:cubicBezTo>
                <a:cubicBezTo>
                  <a:pt x="444" y="749"/>
                  <a:pt x="442" y="740"/>
                  <a:pt x="441" y="730"/>
                </a:cubicBezTo>
                <a:cubicBezTo>
                  <a:pt x="440" y="721"/>
                  <a:pt x="439" y="713"/>
                  <a:pt x="437" y="704"/>
                </a:cubicBezTo>
                <a:cubicBezTo>
                  <a:pt x="435" y="694"/>
                  <a:pt x="433" y="684"/>
                  <a:pt x="430" y="675"/>
                </a:cubicBezTo>
                <a:cubicBezTo>
                  <a:pt x="428" y="665"/>
                  <a:pt x="424" y="656"/>
                  <a:pt x="421" y="647"/>
                </a:cubicBezTo>
                <a:cubicBezTo>
                  <a:pt x="419" y="642"/>
                  <a:pt x="417" y="636"/>
                  <a:pt x="415" y="631"/>
                </a:cubicBezTo>
                <a:cubicBezTo>
                  <a:pt x="869" y="760"/>
                  <a:pt x="869" y="760"/>
                  <a:pt x="869" y="760"/>
                </a:cubicBezTo>
                <a:cubicBezTo>
                  <a:pt x="902" y="769"/>
                  <a:pt x="902" y="769"/>
                  <a:pt x="902" y="769"/>
                </a:cubicBezTo>
                <a:cubicBezTo>
                  <a:pt x="935" y="778"/>
                  <a:pt x="935" y="778"/>
                  <a:pt x="935" y="778"/>
                </a:cubicBezTo>
                <a:cubicBezTo>
                  <a:pt x="1460" y="927"/>
                  <a:pt x="1460" y="927"/>
                  <a:pt x="1460" y="927"/>
                </a:cubicBezTo>
                <a:cubicBezTo>
                  <a:pt x="1476" y="931"/>
                  <a:pt x="1476" y="931"/>
                  <a:pt x="1476" y="931"/>
                </a:cubicBezTo>
                <a:cubicBezTo>
                  <a:pt x="1731" y="695"/>
                  <a:pt x="1731" y="695"/>
                  <a:pt x="1731" y="695"/>
                </a:cubicBezTo>
                <a:cubicBezTo>
                  <a:pt x="1745" y="682"/>
                  <a:pt x="1745" y="682"/>
                  <a:pt x="1745" y="682"/>
                </a:cubicBezTo>
                <a:cubicBezTo>
                  <a:pt x="1759" y="670"/>
                  <a:pt x="1759" y="670"/>
                  <a:pt x="1759" y="670"/>
                </a:cubicBezTo>
                <a:cubicBezTo>
                  <a:pt x="2125" y="330"/>
                  <a:pt x="2125" y="330"/>
                  <a:pt x="2125" y="330"/>
                </a:cubicBezTo>
                <a:cubicBezTo>
                  <a:pt x="2138" y="318"/>
                  <a:pt x="2138" y="318"/>
                  <a:pt x="2138" y="318"/>
                </a:cubicBezTo>
                <a:cubicBezTo>
                  <a:pt x="2173" y="286"/>
                  <a:pt x="2173" y="286"/>
                  <a:pt x="2173" y="286"/>
                </a:cubicBezTo>
                <a:cubicBezTo>
                  <a:pt x="2173" y="239"/>
                  <a:pt x="2173" y="239"/>
                  <a:pt x="2173" y="239"/>
                </a:cubicBezTo>
                <a:cubicBezTo>
                  <a:pt x="1165" y="0"/>
                  <a:pt x="1165" y="0"/>
                  <a:pt x="1165" y="0"/>
                </a:cubicBezTo>
                <a:cubicBezTo>
                  <a:pt x="368" y="571"/>
                  <a:pt x="368" y="571"/>
                  <a:pt x="368" y="571"/>
                </a:cubicBezTo>
                <a:cubicBezTo>
                  <a:pt x="368" y="1034"/>
                  <a:pt x="368" y="1034"/>
                  <a:pt x="368" y="1034"/>
                </a:cubicBezTo>
                <a:cubicBezTo>
                  <a:pt x="1109" y="1273"/>
                  <a:pt x="1109" y="1273"/>
                  <a:pt x="1109" y="1273"/>
                </a:cubicBezTo>
                <a:lnTo>
                  <a:pt x="1163" y="1291"/>
                </a:lnTo>
                <a:close/>
                <a:moveTo>
                  <a:pt x="2367" y="1277"/>
                </a:moveTo>
                <a:cubicBezTo>
                  <a:pt x="860" y="1590"/>
                  <a:pt x="860" y="1590"/>
                  <a:pt x="860" y="1590"/>
                </a:cubicBezTo>
                <a:cubicBezTo>
                  <a:pt x="860" y="1599"/>
                  <a:pt x="861" y="1608"/>
                  <a:pt x="861" y="1618"/>
                </a:cubicBezTo>
                <a:cubicBezTo>
                  <a:pt x="2366" y="1305"/>
                  <a:pt x="2366" y="1305"/>
                  <a:pt x="2366" y="1305"/>
                </a:cubicBezTo>
                <a:lnTo>
                  <a:pt x="2367" y="1277"/>
                </a:lnTo>
                <a:close/>
                <a:moveTo>
                  <a:pt x="2366" y="1336"/>
                </a:moveTo>
                <a:cubicBezTo>
                  <a:pt x="863" y="1648"/>
                  <a:pt x="863" y="1648"/>
                  <a:pt x="863" y="1648"/>
                </a:cubicBezTo>
                <a:cubicBezTo>
                  <a:pt x="864" y="1657"/>
                  <a:pt x="865" y="1666"/>
                  <a:pt x="866" y="1676"/>
                </a:cubicBezTo>
                <a:cubicBezTo>
                  <a:pt x="2366" y="1364"/>
                  <a:pt x="2366" y="1364"/>
                  <a:pt x="2366" y="1364"/>
                </a:cubicBezTo>
                <a:lnTo>
                  <a:pt x="2366" y="1336"/>
                </a:lnTo>
                <a:close/>
                <a:moveTo>
                  <a:pt x="1984" y="2641"/>
                </a:moveTo>
                <a:cubicBezTo>
                  <a:pt x="1982" y="2643"/>
                  <a:pt x="1976" y="2647"/>
                  <a:pt x="1976" y="2647"/>
                </a:cubicBezTo>
                <a:cubicBezTo>
                  <a:pt x="1838" y="2746"/>
                  <a:pt x="1649" y="2831"/>
                  <a:pt x="1401" y="2906"/>
                </a:cubicBezTo>
                <a:cubicBezTo>
                  <a:pt x="1347" y="2922"/>
                  <a:pt x="1292" y="2931"/>
                  <a:pt x="1238" y="2931"/>
                </a:cubicBezTo>
                <a:cubicBezTo>
                  <a:pt x="993" y="2931"/>
                  <a:pt x="803" y="2763"/>
                  <a:pt x="726" y="2600"/>
                </a:cubicBezTo>
                <a:cubicBezTo>
                  <a:pt x="741" y="2656"/>
                  <a:pt x="773" y="2729"/>
                  <a:pt x="834" y="2804"/>
                </a:cubicBezTo>
                <a:cubicBezTo>
                  <a:pt x="870" y="2848"/>
                  <a:pt x="916" y="2891"/>
                  <a:pt x="974" y="2928"/>
                </a:cubicBezTo>
                <a:cubicBezTo>
                  <a:pt x="1033" y="2964"/>
                  <a:pt x="1105" y="2993"/>
                  <a:pt x="1186" y="3003"/>
                </a:cubicBezTo>
                <a:cubicBezTo>
                  <a:pt x="1226" y="3008"/>
                  <a:pt x="1268" y="3009"/>
                  <a:pt x="1310" y="3005"/>
                </a:cubicBezTo>
                <a:cubicBezTo>
                  <a:pt x="1332" y="3003"/>
                  <a:pt x="1352" y="2999"/>
                  <a:pt x="1374" y="2994"/>
                </a:cubicBezTo>
                <a:cubicBezTo>
                  <a:pt x="1404" y="2987"/>
                  <a:pt x="1404" y="2987"/>
                  <a:pt x="1404" y="2987"/>
                </a:cubicBezTo>
                <a:cubicBezTo>
                  <a:pt x="1432" y="2979"/>
                  <a:pt x="1432" y="2979"/>
                  <a:pt x="1432" y="2979"/>
                </a:cubicBezTo>
                <a:cubicBezTo>
                  <a:pt x="1504" y="2958"/>
                  <a:pt x="1577" y="2930"/>
                  <a:pt x="1650" y="2896"/>
                </a:cubicBezTo>
                <a:cubicBezTo>
                  <a:pt x="1795" y="2826"/>
                  <a:pt x="1927" y="2738"/>
                  <a:pt x="2030" y="2638"/>
                </a:cubicBezTo>
                <a:cubicBezTo>
                  <a:pt x="2081" y="2587"/>
                  <a:pt x="2127" y="2533"/>
                  <a:pt x="2158" y="2472"/>
                </a:cubicBezTo>
                <a:cubicBezTo>
                  <a:pt x="2163" y="2462"/>
                  <a:pt x="2166" y="2452"/>
                  <a:pt x="2170" y="2443"/>
                </a:cubicBezTo>
                <a:cubicBezTo>
                  <a:pt x="2155" y="2471"/>
                  <a:pt x="2136" y="2499"/>
                  <a:pt x="2112" y="2527"/>
                </a:cubicBezTo>
                <a:cubicBezTo>
                  <a:pt x="2076" y="2567"/>
                  <a:pt x="2034" y="2605"/>
                  <a:pt x="1984" y="2641"/>
                </a:cubicBezTo>
                <a:close/>
                <a:moveTo>
                  <a:pt x="1977" y="1980"/>
                </a:moveTo>
                <a:cubicBezTo>
                  <a:pt x="2010" y="1982"/>
                  <a:pt x="2043" y="1988"/>
                  <a:pt x="2074" y="2001"/>
                </a:cubicBezTo>
                <a:cubicBezTo>
                  <a:pt x="2070" y="1997"/>
                  <a:pt x="2066" y="1992"/>
                  <a:pt x="2062" y="1988"/>
                </a:cubicBezTo>
                <a:cubicBezTo>
                  <a:pt x="1974" y="1899"/>
                  <a:pt x="1862" y="1854"/>
                  <a:pt x="1729" y="1854"/>
                </a:cubicBezTo>
                <a:cubicBezTo>
                  <a:pt x="1675" y="1854"/>
                  <a:pt x="1618" y="1862"/>
                  <a:pt x="1558" y="1876"/>
                </a:cubicBezTo>
                <a:cubicBezTo>
                  <a:pt x="1558" y="1876"/>
                  <a:pt x="1554" y="1877"/>
                  <a:pt x="1546" y="1879"/>
                </a:cubicBezTo>
                <a:cubicBezTo>
                  <a:pt x="1590" y="1899"/>
                  <a:pt x="1632" y="1924"/>
                  <a:pt x="1672" y="1952"/>
                </a:cubicBezTo>
                <a:cubicBezTo>
                  <a:pt x="1702" y="1974"/>
                  <a:pt x="1726" y="1995"/>
                  <a:pt x="1754" y="2021"/>
                </a:cubicBezTo>
                <a:cubicBezTo>
                  <a:pt x="1757" y="2021"/>
                  <a:pt x="1757" y="2021"/>
                  <a:pt x="1757" y="2021"/>
                </a:cubicBezTo>
                <a:cubicBezTo>
                  <a:pt x="1793" y="2006"/>
                  <a:pt x="1828" y="1996"/>
                  <a:pt x="1864" y="1989"/>
                </a:cubicBezTo>
                <a:cubicBezTo>
                  <a:pt x="1901" y="1981"/>
                  <a:pt x="1939" y="1978"/>
                  <a:pt x="1977" y="1980"/>
                </a:cubicBezTo>
                <a:close/>
                <a:moveTo>
                  <a:pt x="754" y="2572"/>
                </a:moveTo>
                <a:cubicBezTo>
                  <a:pt x="821" y="2725"/>
                  <a:pt x="1002" y="2893"/>
                  <a:pt x="1238" y="2893"/>
                </a:cubicBezTo>
                <a:cubicBezTo>
                  <a:pt x="1287" y="2893"/>
                  <a:pt x="1338" y="2886"/>
                  <a:pt x="1390" y="2870"/>
                </a:cubicBezTo>
                <a:cubicBezTo>
                  <a:pt x="1568" y="2817"/>
                  <a:pt x="1744" y="2752"/>
                  <a:pt x="1896" y="2653"/>
                </a:cubicBezTo>
                <a:cubicBezTo>
                  <a:pt x="1898" y="2646"/>
                  <a:pt x="1898" y="2646"/>
                  <a:pt x="1898" y="2646"/>
                </a:cubicBezTo>
                <a:cubicBezTo>
                  <a:pt x="1898" y="2555"/>
                  <a:pt x="1898" y="2555"/>
                  <a:pt x="1898" y="2555"/>
                </a:cubicBezTo>
                <a:cubicBezTo>
                  <a:pt x="1898" y="2519"/>
                  <a:pt x="1898" y="2519"/>
                  <a:pt x="1898" y="2519"/>
                </a:cubicBezTo>
                <a:cubicBezTo>
                  <a:pt x="1898" y="2477"/>
                  <a:pt x="1897" y="2439"/>
                  <a:pt x="1888" y="2403"/>
                </a:cubicBezTo>
                <a:cubicBezTo>
                  <a:pt x="1872" y="2328"/>
                  <a:pt x="1835" y="2253"/>
                  <a:pt x="1791" y="2186"/>
                </a:cubicBezTo>
                <a:cubicBezTo>
                  <a:pt x="1748" y="2118"/>
                  <a:pt x="1693" y="2057"/>
                  <a:pt x="1631" y="2005"/>
                </a:cubicBezTo>
                <a:cubicBezTo>
                  <a:pt x="1580" y="1963"/>
                  <a:pt x="1525" y="1928"/>
                  <a:pt x="1465" y="1899"/>
                </a:cubicBezTo>
                <a:cubicBezTo>
                  <a:pt x="1331" y="1933"/>
                  <a:pt x="1085" y="2001"/>
                  <a:pt x="970" y="2073"/>
                </a:cubicBezTo>
                <a:cubicBezTo>
                  <a:pt x="810" y="2174"/>
                  <a:pt x="706" y="2307"/>
                  <a:pt x="728" y="2481"/>
                </a:cubicBezTo>
                <a:cubicBezTo>
                  <a:pt x="731" y="2510"/>
                  <a:pt x="741" y="2540"/>
                  <a:pt x="754" y="2572"/>
                </a:cubicBezTo>
                <a:close/>
                <a:moveTo>
                  <a:pt x="2405" y="1584"/>
                </a:moveTo>
                <a:cubicBezTo>
                  <a:pt x="2404" y="1499"/>
                  <a:pt x="2404" y="1499"/>
                  <a:pt x="2404" y="1499"/>
                </a:cubicBezTo>
                <a:cubicBezTo>
                  <a:pt x="868" y="1818"/>
                  <a:pt x="868" y="1818"/>
                  <a:pt x="868" y="1818"/>
                </a:cubicBezTo>
                <a:cubicBezTo>
                  <a:pt x="825" y="1638"/>
                  <a:pt x="826" y="1521"/>
                  <a:pt x="869" y="1323"/>
                </a:cubicBezTo>
                <a:cubicBezTo>
                  <a:pt x="1062" y="1283"/>
                  <a:pt x="1062" y="1283"/>
                  <a:pt x="1062" y="1283"/>
                </a:cubicBezTo>
                <a:cubicBezTo>
                  <a:pt x="361" y="1056"/>
                  <a:pt x="361" y="1056"/>
                  <a:pt x="361" y="1056"/>
                </a:cubicBezTo>
                <a:cubicBezTo>
                  <a:pt x="344" y="1051"/>
                  <a:pt x="344" y="1051"/>
                  <a:pt x="344" y="1051"/>
                </a:cubicBezTo>
                <a:cubicBezTo>
                  <a:pt x="344" y="916"/>
                  <a:pt x="344" y="916"/>
                  <a:pt x="344" y="916"/>
                </a:cubicBezTo>
                <a:cubicBezTo>
                  <a:pt x="71" y="980"/>
                  <a:pt x="71" y="980"/>
                  <a:pt x="71" y="980"/>
                </a:cubicBezTo>
                <a:cubicBezTo>
                  <a:pt x="71" y="980"/>
                  <a:pt x="0" y="1200"/>
                  <a:pt x="63" y="1450"/>
                </a:cubicBezTo>
                <a:cubicBezTo>
                  <a:pt x="70" y="1477"/>
                  <a:pt x="70" y="1477"/>
                  <a:pt x="70" y="1477"/>
                </a:cubicBezTo>
                <a:cubicBezTo>
                  <a:pt x="814" y="1915"/>
                  <a:pt x="814" y="1915"/>
                  <a:pt x="814" y="1915"/>
                </a:cubicBezTo>
                <a:lnTo>
                  <a:pt x="2405" y="1584"/>
                </a:lnTo>
                <a:close/>
                <a:moveTo>
                  <a:pt x="2125" y="363"/>
                </a:moveTo>
                <a:cubicBezTo>
                  <a:pt x="1937" y="537"/>
                  <a:pt x="1937" y="537"/>
                  <a:pt x="1937" y="537"/>
                </a:cubicBezTo>
                <a:cubicBezTo>
                  <a:pt x="1890" y="581"/>
                  <a:pt x="1838" y="630"/>
                  <a:pt x="1786" y="679"/>
                </a:cubicBezTo>
                <a:cubicBezTo>
                  <a:pt x="1782" y="683"/>
                  <a:pt x="1777" y="687"/>
                  <a:pt x="1773" y="692"/>
                </a:cubicBezTo>
                <a:cubicBezTo>
                  <a:pt x="1768" y="696"/>
                  <a:pt x="1764" y="700"/>
                  <a:pt x="1759" y="704"/>
                </a:cubicBezTo>
                <a:cubicBezTo>
                  <a:pt x="1599" y="855"/>
                  <a:pt x="1449" y="996"/>
                  <a:pt x="1449" y="996"/>
                </a:cubicBezTo>
                <a:cubicBezTo>
                  <a:pt x="1449" y="996"/>
                  <a:pt x="1105" y="897"/>
                  <a:pt x="802" y="809"/>
                </a:cubicBezTo>
                <a:cubicBezTo>
                  <a:pt x="791" y="806"/>
                  <a:pt x="780" y="803"/>
                  <a:pt x="769" y="800"/>
                </a:cubicBezTo>
                <a:cubicBezTo>
                  <a:pt x="758" y="797"/>
                  <a:pt x="747" y="794"/>
                  <a:pt x="737" y="791"/>
                </a:cubicBezTo>
                <a:cubicBezTo>
                  <a:pt x="630" y="760"/>
                  <a:pt x="533" y="732"/>
                  <a:pt x="463" y="712"/>
                </a:cubicBezTo>
                <a:cubicBezTo>
                  <a:pt x="464" y="720"/>
                  <a:pt x="465" y="729"/>
                  <a:pt x="466" y="737"/>
                </a:cubicBezTo>
                <a:cubicBezTo>
                  <a:pt x="526" y="755"/>
                  <a:pt x="604" y="777"/>
                  <a:pt x="689" y="802"/>
                </a:cubicBezTo>
                <a:cubicBezTo>
                  <a:pt x="700" y="805"/>
                  <a:pt x="711" y="808"/>
                  <a:pt x="722" y="811"/>
                </a:cubicBezTo>
                <a:cubicBezTo>
                  <a:pt x="732" y="814"/>
                  <a:pt x="743" y="817"/>
                  <a:pt x="754" y="821"/>
                </a:cubicBezTo>
                <a:cubicBezTo>
                  <a:pt x="1071" y="912"/>
                  <a:pt x="1456" y="1023"/>
                  <a:pt x="1456" y="1023"/>
                </a:cubicBezTo>
                <a:cubicBezTo>
                  <a:pt x="1456" y="1023"/>
                  <a:pt x="1617" y="871"/>
                  <a:pt x="1785" y="713"/>
                </a:cubicBezTo>
                <a:cubicBezTo>
                  <a:pt x="1812" y="687"/>
                  <a:pt x="1812" y="687"/>
                  <a:pt x="1812" y="687"/>
                </a:cubicBezTo>
                <a:cubicBezTo>
                  <a:pt x="1941" y="566"/>
                  <a:pt x="2068" y="446"/>
                  <a:pt x="2125" y="393"/>
                </a:cubicBezTo>
                <a:lnTo>
                  <a:pt x="2125" y="363"/>
                </a:lnTo>
                <a:close/>
                <a:moveTo>
                  <a:pt x="3105" y="1117"/>
                </a:moveTo>
                <a:cubicBezTo>
                  <a:pt x="3039" y="1016"/>
                  <a:pt x="2938" y="952"/>
                  <a:pt x="2837" y="903"/>
                </a:cubicBezTo>
                <a:cubicBezTo>
                  <a:pt x="2631" y="807"/>
                  <a:pt x="2409" y="764"/>
                  <a:pt x="2189" y="733"/>
                </a:cubicBezTo>
                <a:cubicBezTo>
                  <a:pt x="2160" y="763"/>
                  <a:pt x="2160" y="763"/>
                  <a:pt x="2160" y="763"/>
                </a:cubicBezTo>
                <a:cubicBezTo>
                  <a:pt x="2378" y="799"/>
                  <a:pt x="2620" y="850"/>
                  <a:pt x="2815" y="947"/>
                </a:cubicBezTo>
                <a:cubicBezTo>
                  <a:pt x="2911" y="996"/>
                  <a:pt x="3003" y="1060"/>
                  <a:pt x="3056" y="1148"/>
                </a:cubicBezTo>
                <a:cubicBezTo>
                  <a:pt x="3083" y="1191"/>
                  <a:pt x="3097" y="1240"/>
                  <a:pt x="3098" y="1290"/>
                </a:cubicBezTo>
                <a:cubicBezTo>
                  <a:pt x="3098" y="1340"/>
                  <a:pt x="3085" y="1390"/>
                  <a:pt x="3063" y="1438"/>
                </a:cubicBezTo>
                <a:cubicBezTo>
                  <a:pt x="3020" y="1532"/>
                  <a:pt x="2947" y="1614"/>
                  <a:pt x="2867" y="1686"/>
                </a:cubicBezTo>
                <a:cubicBezTo>
                  <a:pt x="2787" y="1757"/>
                  <a:pt x="2697" y="1820"/>
                  <a:pt x="2604" y="1876"/>
                </a:cubicBezTo>
                <a:cubicBezTo>
                  <a:pt x="2468" y="1958"/>
                  <a:pt x="2340" y="2020"/>
                  <a:pt x="2193" y="2078"/>
                </a:cubicBezTo>
                <a:cubicBezTo>
                  <a:pt x="2193" y="2078"/>
                  <a:pt x="2177" y="2084"/>
                  <a:pt x="2177" y="2084"/>
                </a:cubicBezTo>
                <a:cubicBezTo>
                  <a:pt x="2173" y="2087"/>
                  <a:pt x="2173" y="2087"/>
                  <a:pt x="2173" y="2087"/>
                </a:cubicBezTo>
                <a:cubicBezTo>
                  <a:pt x="2186" y="2114"/>
                  <a:pt x="2196" y="2144"/>
                  <a:pt x="2204" y="2175"/>
                </a:cubicBezTo>
                <a:cubicBezTo>
                  <a:pt x="2357" y="2111"/>
                  <a:pt x="2506" y="2036"/>
                  <a:pt x="2647" y="1946"/>
                </a:cubicBezTo>
                <a:cubicBezTo>
                  <a:pt x="2742" y="1885"/>
                  <a:pt x="2834" y="1818"/>
                  <a:pt x="2917" y="1740"/>
                </a:cubicBezTo>
                <a:cubicBezTo>
                  <a:pt x="3000" y="1662"/>
                  <a:pt x="3076" y="1573"/>
                  <a:pt x="3124" y="1464"/>
                </a:cubicBezTo>
                <a:cubicBezTo>
                  <a:pt x="3147" y="1410"/>
                  <a:pt x="3162" y="1350"/>
                  <a:pt x="3160" y="1289"/>
                </a:cubicBezTo>
                <a:cubicBezTo>
                  <a:pt x="3158" y="1228"/>
                  <a:pt x="3138" y="1167"/>
                  <a:pt x="3105" y="1117"/>
                </a:cubicBezTo>
                <a:close/>
                <a:moveTo>
                  <a:pt x="2147" y="2120"/>
                </a:moveTo>
                <a:cubicBezTo>
                  <a:pt x="2140" y="2111"/>
                  <a:pt x="2140" y="2111"/>
                  <a:pt x="2140" y="2111"/>
                </a:cubicBezTo>
                <a:cubicBezTo>
                  <a:pt x="2137" y="2108"/>
                  <a:pt x="2134" y="2105"/>
                  <a:pt x="2131" y="2102"/>
                </a:cubicBezTo>
                <a:cubicBezTo>
                  <a:pt x="2117" y="2089"/>
                  <a:pt x="2103" y="2078"/>
                  <a:pt x="2087" y="2070"/>
                </a:cubicBezTo>
                <a:cubicBezTo>
                  <a:pt x="2053" y="2053"/>
                  <a:pt x="2014" y="2047"/>
                  <a:pt x="1975" y="2051"/>
                </a:cubicBezTo>
                <a:cubicBezTo>
                  <a:pt x="1944" y="2053"/>
                  <a:pt x="1913" y="2060"/>
                  <a:pt x="1883" y="2070"/>
                </a:cubicBezTo>
                <a:cubicBezTo>
                  <a:pt x="1863" y="2077"/>
                  <a:pt x="1842" y="2086"/>
                  <a:pt x="1823" y="2095"/>
                </a:cubicBezTo>
                <a:cubicBezTo>
                  <a:pt x="1835" y="2110"/>
                  <a:pt x="1847" y="2125"/>
                  <a:pt x="1858" y="2140"/>
                </a:cubicBezTo>
                <a:cubicBezTo>
                  <a:pt x="1910" y="2213"/>
                  <a:pt x="1951" y="2292"/>
                  <a:pt x="1975" y="2382"/>
                </a:cubicBezTo>
                <a:cubicBezTo>
                  <a:pt x="1985" y="2420"/>
                  <a:pt x="1987" y="2458"/>
                  <a:pt x="1988" y="2493"/>
                </a:cubicBezTo>
                <a:cubicBezTo>
                  <a:pt x="1988" y="2502"/>
                  <a:pt x="1988" y="2511"/>
                  <a:pt x="1988" y="2519"/>
                </a:cubicBezTo>
                <a:cubicBezTo>
                  <a:pt x="1988" y="2544"/>
                  <a:pt x="1987" y="2568"/>
                  <a:pt x="1986" y="2592"/>
                </a:cubicBezTo>
                <a:cubicBezTo>
                  <a:pt x="2022" y="2564"/>
                  <a:pt x="2055" y="2534"/>
                  <a:pt x="2084" y="2501"/>
                </a:cubicBezTo>
                <a:cubicBezTo>
                  <a:pt x="2177" y="2396"/>
                  <a:pt x="2189" y="2284"/>
                  <a:pt x="2168" y="2189"/>
                </a:cubicBezTo>
                <a:cubicBezTo>
                  <a:pt x="2162" y="2161"/>
                  <a:pt x="2157" y="2145"/>
                  <a:pt x="2147" y="2120"/>
                </a:cubicBezTo>
                <a:close/>
                <a:moveTo>
                  <a:pt x="793" y="777"/>
                </a:moveTo>
                <a:cubicBezTo>
                  <a:pt x="804" y="781"/>
                  <a:pt x="815" y="784"/>
                  <a:pt x="826" y="787"/>
                </a:cubicBezTo>
                <a:cubicBezTo>
                  <a:pt x="837" y="790"/>
                  <a:pt x="848" y="793"/>
                  <a:pt x="859" y="796"/>
                </a:cubicBezTo>
                <a:cubicBezTo>
                  <a:pt x="1150" y="878"/>
                  <a:pt x="1455" y="965"/>
                  <a:pt x="1455" y="965"/>
                </a:cubicBezTo>
                <a:cubicBezTo>
                  <a:pt x="1455" y="965"/>
                  <a:pt x="1459" y="961"/>
                  <a:pt x="1467" y="954"/>
                </a:cubicBezTo>
                <a:cubicBezTo>
                  <a:pt x="887" y="790"/>
                  <a:pt x="887" y="790"/>
                  <a:pt x="887" y="790"/>
                </a:cubicBezTo>
                <a:cubicBezTo>
                  <a:pt x="854" y="780"/>
                  <a:pt x="854" y="780"/>
                  <a:pt x="854" y="780"/>
                </a:cubicBezTo>
                <a:cubicBezTo>
                  <a:pt x="821" y="771"/>
                  <a:pt x="821" y="771"/>
                  <a:pt x="821" y="771"/>
                </a:cubicBezTo>
                <a:cubicBezTo>
                  <a:pt x="453" y="667"/>
                  <a:pt x="453" y="667"/>
                  <a:pt x="453" y="667"/>
                </a:cubicBezTo>
                <a:cubicBezTo>
                  <a:pt x="455" y="672"/>
                  <a:pt x="456" y="677"/>
                  <a:pt x="457" y="682"/>
                </a:cubicBezTo>
                <a:cubicBezTo>
                  <a:pt x="541" y="706"/>
                  <a:pt x="663" y="741"/>
                  <a:pt x="793" y="777"/>
                </a:cubicBezTo>
                <a:close/>
                <a:moveTo>
                  <a:pt x="1958" y="771"/>
                </a:moveTo>
                <a:cubicBezTo>
                  <a:pt x="1831" y="900"/>
                  <a:pt x="1662" y="1072"/>
                  <a:pt x="1555" y="1181"/>
                </a:cubicBezTo>
                <a:cubicBezTo>
                  <a:pt x="1542" y="1194"/>
                  <a:pt x="1531" y="1206"/>
                  <a:pt x="1520" y="1217"/>
                </a:cubicBezTo>
                <a:cubicBezTo>
                  <a:pt x="1507" y="1230"/>
                  <a:pt x="1495" y="1242"/>
                  <a:pt x="1486" y="1252"/>
                </a:cubicBezTo>
                <a:cubicBezTo>
                  <a:pt x="1464" y="1273"/>
                  <a:pt x="1451" y="1286"/>
                  <a:pt x="1451" y="1286"/>
                </a:cubicBezTo>
                <a:cubicBezTo>
                  <a:pt x="1451" y="1286"/>
                  <a:pt x="1431" y="1280"/>
                  <a:pt x="1398" y="1270"/>
                </a:cubicBezTo>
                <a:cubicBezTo>
                  <a:pt x="1383" y="1265"/>
                  <a:pt x="1365" y="1259"/>
                  <a:pt x="1345" y="1253"/>
                </a:cubicBezTo>
                <a:cubicBezTo>
                  <a:pt x="1328" y="1248"/>
                  <a:pt x="1310" y="1242"/>
                  <a:pt x="1291" y="1236"/>
                </a:cubicBezTo>
                <a:cubicBezTo>
                  <a:pt x="1057" y="1162"/>
                  <a:pt x="630" y="1027"/>
                  <a:pt x="447" y="969"/>
                </a:cubicBezTo>
                <a:cubicBezTo>
                  <a:pt x="446" y="974"/>
                  <a:pt x="445" y="978"/>
                  <a:pt x="444" y="982"/>
                </a:cubicBezTo>
                <a:cubicBezTo>
                  <a:pt x="1267" y="1241"/>
                  <a:pt x="1267" y="1241"/>
                  <a:pt x="1267" y="1241"/>
                </a:cubicBezTo>
                <a:cubicBezTo>
                  <a:pt x="1322" y="1258"/>
                  <a:pt x="1322" y="1258"/>
                  <a:pt x="1322" y="1258"/>
                </a:cubicBezTo>
                <a:cubicBezTo>
                  <a:pt x="1375" y="1274"/>
                  <a:pt x="1375" y="1274"/>
                  <a:pt x="1375" y="1274"/>
                </a:cubicBezTo>
                <a:cubicBezTo>
                  <a:pt x="1435" y="1293"/>
                  <a:pt x="1435" y="1293"/>
                  <a:pt x="1435" y="1293"/>
                </a:cubicBezTo>
                <a:cubicBezTo>
                  <a:pt x="1468" y="1304"/>
                  <a:pt x="1468" y="1304"/>
                  <a:pt x="1468" y="1304"/>
                </a:cubicBezTo>
                <a:cubicBezTo>
                  <a:pt x="1473" y="1298"/>
                  <a:pt x="1480" y="1291"/>
                  <a:pt x="1489" y="1282"/>
                </a:cubicBezTo>
                <a:cubicBezTo>
                  <a:pt x="1500" y="1271"/>
                  <a:pt x="1513" y="1258"/>
                  <a:pt x="1528" y="1243"/>
                </a:cubicBezTo>
                <a:cubicBezTo>
                  <a:pt x="1538" y="1232"/>
                  <a:pt x="1550" y="1220"/>
                  <a:pt x="1562" y="1208"/>
                </a:cubicBezTo>
                <a:cubicBezTo>
                  <a:pt x="1573" y="1197"/>
                  <a:pt x="1585" y="1185"/>
                  <a:pt x="1597" y="1172"/>
                </a:cubicBezTo>
                <a:cubicBezTo>
                  <a:pt x="1708" y="1059"/>
                  <a:pt x="1865" y="899"/>
                  <a:pt x="1983" y="779"/>
                </a:cubicBezTo>
                <a:cubicBezTo>
                  <a:pt x="1987" y="775"/>
                  <a:pt x="1992" y="770"/>
                  <a:pt x="1996" y="766"/>
                </a:cubicBezTo>
                <a:cubicBezTo>
                  <a:pt x="2000" y="761"/>
                  <a:pt x="2005" y="757"/>
                  <a:pt x="2009" y="753"/>
                </a:cubicBezTo>
                <a:cubicBezTo>
                  <a:pt x="2060" y="701"/>
                  <a:pt x="2101" y="659"/>
                  <a:pt x="2125" y="635"/>
                </a:cubicBezTo>
                <a:cubicBezTo>
                  <a:pt x="2125" y="601"/>
                  <a:pt x="2125" y="601"/>
                  <a:pt x="2125" y="601"/>
                </a:cubicBezTo>
                <a:cubicBezTo>
                  <a:pt x="2108" y="618"/>
                  <a:pt x="2054" y="673"/>
                  <a:pt x="1984" y="744"/>
                </a:cubicBezTo>
                <a:cubicBezTo>
                  <a:pt x="1979" y="749"/>
                  <a:pt x="1975" y="753"/>
                  <a:pt x="1971" y="757"/>
                </a:cubicBezTo>
                <a:cubicBezTo>
                  <a:pt x="1967" y="762"/>
                  <a:pt x="1962" y="766"/>
                  <a:pt x="1958" y="771"/>
                </a:cubicBezTo>
                <a:close/>
                <a:moveTo>
                  <a:pt x="2125" y="553"/>
                </a:moveTo>
                <a:cubicBezTo>
                  <a:pt x="2103" y="574"/>
                  <a:pt x="2033" y="645"/>
                  <a:pt x="1946" y="732"/>
                </a:cubicBezTo>
                <a:cubicBezTo>
                  <a:pt x="1942" y="736"/>
                  <a:pt x="1937" y="741"/>
                  <a:pt x="1933" y="745"/>
                </a:cubicBezTo>
                <a:cubicBezTo>
                  <a:pt x="1929" y="749"/>
                  <a:pt x="1924" y="754"/>
                  <a:pt x="1920" y="758"/>
                </a:cubicBezTo>
                <a:cubicBezTo>
                  <a:pt x="1762" y="917"/>
                  <a:pt x="1560" y="1119"/>
                  <a:pt x="1483" y="1196"/>
                </a:cubicBezTo>
                <a:cubicBezTo>
                  <a:pt x="1463" y="1216"/>
                  <a:pt x="1451" y="1228"/>
                  <a:pt x="1451" y="1228"/>
                </a:cubicBezTo>
                <a:cubicBezTo>
                  <a:pt x="1451" y="1228"/>
                  <a:pt x="1432" y="1223"/>
                  <a:pt x="1401" y="1213"/>
                </a:cubicBezTo>
                <a:cubicBezTo>
                  <a:pt x="1234" y="1161"/>
                  <a:pt x="686" y="991"/>
                  <a:pt x="459" y="921"/>
                </a:cubicBezTo>
                <a:cubicBezTo>
                  <a:pt x="457" y="928"/>
                  <a:pt x="456" y="936"/>
                  <a:pt x="454" y="944"/>
                </a:cubicBezTo>
                <a:cubicBezTo>
                  <a:pt x="664" y="1009"/>
                  <a:pt x="1141" y="1157"/>
                  <a:pt x="1353" y="1223"/>
                </a:cubicBezTo>
                <a:cubicBezTo>
                  <a:pt x="1374" y="1230"/>
                  <a:pt x="1392" y="1235"/>
                  <a:pt x="1407" y="1240"/>
                </a:cubicBezTo>
                <a:cubicBezTo>
                  <a:pt x="1439" y="1250"/>
                  <a:pt x="1457" y="1256"/>
                  <a:pt x="1457" y="1256"/>
                </a:cubicBezTo>
                <a:cubicBezTo>
                  <a:pt x="1457" y="1256"/>
                  <a:pt x="1470" y="1243"/>
                  <a:pt x="1490" y="1223"/>
                </a:cubicBezTo>
                <a:cubicBezTo>
                  <a:pt x="1500" y="1213"/>
                  <a:pt x="1512" y="1201"/>
                  <a:pt x="1526" y="1187"/>
                </a:cubicBezTo>
                <a:cubicBezTo>
                  <a:pt x="1622" y="1090"/>
                  <a:pt x="1803" y="909"/>
                  <a:pt x="1945" y="766"/>
                </a:cubicBezTo>
                <a:cubicBezTo>
                  <a:pt x="1950" y="762"/>
                  <a:pt x="1954" y="758"/>
                  <a:pt x="1958" y="753"/>
                </a:cubicBezTo>
                <a:cubicBezTo>
                  <a:pt x="1963" y="749"/>
                  <a:pt x="1967" y="745"/>
                  <a:pt x="1971" y="740"/>
                </a:cubicBezTo>
                <a:cubicBezTo>
                  <a:pt x="2039" y="673"/>
                  <a:pt x="2095" y="617"/>
                  <a:pt x="2125" y="586"/>
                </a:cubicBezTo>
                <a:lnTo>
                  <a:pt x="2125" y="553"/>
                </a:lnTo>
                <a:close/>
                <a:moveTo>
                  <a:pt x="2125" y="505"/>
                </a:moveTo>
                <a:cubicBezTo>
                  <a:pt x="2098" y="531"/>
                  <a:pt x="2011" y="617"/>
                  <a:pt x="1908" y="719"/>
                </a:cubicBezTo>
                <a:cubicBezTo>
                  <a:pt x="1903" y="723"/>
                  <a:pt x="1899" y="728"/>
                  <a:pt x="1894" y="732"/>
                </a:cubicBezTo>
                <a:cubicBezTo>
                  <a:pt x="1890" y="736"/>
                  <a:pt x="1886" y="741"/>
                  <a:pt x="1881" y="745"/>
                </a:cubicBezTo>
                <a:cubicBezTo>
                  <a:pt x="1687" y="937"/>
                  <a:pt x="1450" y="1170"/>
                  <a:pt x="1450" y="1170"/>
                </a:cubicBezTo>
                <a:cubicBezTo>
                  <a:pt x="1450" y="1170"/>
                  <a:pt x="795" y="971"/>
                  <a:pt x="499" y="880"/>
                </a:cubicBezTo>
                <a:cubicBezTo>
                  <a:pt x="487" y="877"/>
                  <a:pt x="477" y="874"/>
                  <a:pt x="467" y="871"/>
                </a:cubicBezTo>
                <a:cubicBezTo>
                  <a:pt x="467" y="871"/>
                  <a:pt x="466" y="870"/>
                  <a:pt x="466" y="870"/>
                </a:cubicBezTo>
                <a:cubicBezTo>
                  <a:pt x="466" y="870"/>
                  <a:pt x="466" y="871"/>
                  <a:pt x="466" y="871"/>
                </a:cubicBezTo>
                <a:cubicBezTo>
                  <a:pt x="466" y="877"/>
                  <a:pt x="465" y="882"/>
                  <a:pt x="464" y="888"/>
                </a:cubicBezTo>
                <a:cubicBezTo>
                  <a:pt x="464" y="890"/>
                  <a:pt x="464" y="892"/>
                  <a:pt x="463" y="894"/>
                </a:cubicBezTo>
                <a:cubicBezTo>
                  <a:pt x="746" y="981"/>
                  <a:pt x="1457" y="1197"/>
                  <a:pt x="1457" y="1197"/>
                </a:cubicBezTo>
                <a:cubicBezTo>
                  <a:pt x="1457" y="1197"/>
                  <a:pt x="1707" y="951"/>
                  <a:pt x="1907" y="754"/>
                </a:cubicBezTo>
                <a:cubicBezTo>
                  <a:pt x="1911" y="749"/>
                  <a:pt x="1915" y="745"/>
                  <a:pt x="1920" y="741"/>
                </a:cubicBezTo>
                <a:cubicBezTo>
                  <a:pt x="1924" y="736"/>
                  <a:pt x="1929" y="732"/>
                  <a:pt x="1933" y="728"/>
                </a:cubicBezTo>
                <a:cubicBezTo>
                  <a:pt x="2017" y="645"/>
                  <a:pt x="2089" y="574"/>
                  <a:pt x="2125" y="538"/>
                </a:cubicBezTo>
                <a:lnTo>
                  <a:pt x="2125" y="505"/>
                </a:lnTo>
                <a:close/>
                <a:moveTo>
                  <a:pt x="2125" y="456"/>
                </a:moveTo>
                <a:cubicBezTo>
                  <a:pt x="2092" y="488"/>
                  <a:pt x="1986" y="591"/>
                  <a:pt x="1868" y="706"/>
                </a:cubicBezTo>
                <a:cubicBezTo>
                  <a:pt x="1864" y="710"/>
                  <a:pt x="1859" y="715"/>
                  <a:pt x="1855" y="719"/>
                </a:cubicBezTo>
                <a:cubicBezTo>
                  <a:pt x="1850" y="723"/>
                  <a:pt x="1846" y="728"/>
                  <a:pt x="1841" y="732"/>
                </a:cubicBezTo>
                <a:cubicBezTo>
                  <a:pt x="1655" y="913"/>
                  <a:pt x="1450" y="1112"/>
                  <a:pt x="1450" y="1112"/>
                </a:cubicBezTo>
                <a:cubicBezTo>
                  <a:pt x="1450" y="1112"/>
                  <a:pt x="920" y="954"/>
                  <a:pt x="598" y="857"/>
                </a:cubicBezTo>
                <a:cubicBezTo>
                  <a:pt x="587" y="854"/>
                  <a:pt x="576" y="851"/>
                  <a:pt x="566" y="848"/>
                </a:cubicBezTo>
                <a:cubicBezTo>
                  <a:pt x="555" y="844"/>
                  <a:pt x="544" y="841"/>
                  <a:pt x="534" y="838"/>
                </a:cubicBezTo>
                <a:cubicBezTo>
                  <a:pt x="511" y="831"/>
                  <a:pt x="489" y="825"/>
                  <a:pt x="470" y="819"/>
                </a:cubicBezTo>
                <a:cubicBezTo>
                  <a:pt x="469" y="827"/>
                  <a:pt x="469" y="835"/>
                  <a:pt x="468" y="843"/>
                </a:cubicBezTo>
                <a:cubicBezTo>
                  <a:pt x="474" y="845"/>
                  <a:pt x="481" y="847"/>
                  <a:pt x="487" y="849"/>
                </a:cubicBezTo>
                <a:cubicBezTo>
                  <a:pt x="497" y="852"/>
                  <a:pt x="508" y="855"/>
                  <a:pt x="519" y="858"/>
                </a:cubicBezTo>
                <a:cubicBezTo>
                  <a:pt x="529" y="862"/>
                  <a:pt x="540" y="865"/>
                  <a:pt x="551" y="868"/>
                </a:cubicBezTo>
                <a:cubicBezTo>
                  <a:pt x="869" y="963"/>
                  <a:pt x="1450" y="1137"/>
                  <a:pt x="1450" y="1137"/>
                </a:cubicBezTo>
                <a:cubicBezTo>
                  <a:pt x="1457" y="1139"/>
                  <a:pt x="1457" y="1139"/>
                  <a:pt x="1457" y="1139"/>
                </a:cubicBezTo>
                <a:cubicBezTo>
                  <a:pt x="1457" y="1139"/>
                  <a:pt x="1675" y="927"/>
                  <a:pt x="1867" y="740"/>
                </a:cubicBezTo>
                <a:cubicBezTo>
                  <a:pt x="1871" y="736"/>
                  <a:pt x="1876" y="732"/>
                  <a:pt x="1880" y="727"/>
                </a:cubicBezTo>
                <a:cubicBezTo>
                  <a:pt x="1885" y="723"/>
                  <a:pt x="1889" y="719"/>
                  <a:pt x="1894" y="714"/>
                </a:cubicBezTo>
                <a:cubicBezTo>
                  <a:pt x="1993" y="618"/>
                  <a:pt x="2082" y="531"/>
                  <a:pt x="2125" y="490"/>
                </a:cubicBezTo>
                <a:lnTo>
                  <a:pt x="2125" y="456"/>
                </a:lnTo>
                <a:close/>
                <a:moveTo>
                  <a:pt x="2125" y="408"/>
                </a:moveTo>
                <a:cubicBezTo>
                  <a:pt x="2086" y="445"/>
                  <a:pt x="1960" y="566"/>
                  <a:pt x="1828" y="693"/>
                </a:cubicBezTo>
                <a:cubicBezTo>
                  <a:pt x="1823" y="697"/>
                  <a:pt x="1819" y="701"/>
                  <a:pt x="1814" y="705"/>
                </a:cubicBezTo>
                <a:cubicBezTo>
                  <a:pt x="1810" y="710"/>
                  <a:pt x="1805" y="714"/>
                  <a:pt x="1801" y="718"/>
                </a:cubicBezTo>
                <a:cubicBezTo>
                  <a:pt x="1626" y="885"/>
                  <a:pt x="1450" y="1054"/>
                  <a:pt x="1450" y="1054"/>
                </a:cubicBezTo>
                <a:cubicBezTo>
                  <a:pt x="1450" y="1054"/>
                  <a:pt x="1020" y="928"/>
                  <a:pt x="699" y="833"/>
                </a:cubicBezTo>
                <a:cubicBezTo>
                  <a:pt x="688" y="830"/>
                  <a:pt x="677" y="827"/>
                  <a:pt x="666" y="824"/>
                </a:cubicBezTo>
                <a:cubicBezTo>
                  <a:pt x="655" y="821"/>
                  <a:pt x="645" y="818"/>
                  <a:pt x="634" y="815"/>
                </a:cubicBezTo>
                <a:cubicBezTo>
                  <a:pt x="571" y="796"/>
                  <a:pt x="514" y="779"/>
                  <a:pt x="468" y="766"/>
                </a:cubicBezTo>
                <a:cubicBezTo>
                  <a:pt x="469" y="774"/>
                  <a:pt x="469" y="783"/>
                  <a:pt x="470" y="791"/>
                </a:cubicBezTo>
                <a:cubicBezTo>
                  <a:pt x="504" y="801"/>
                  <a:pt x="544" y="813"/>
                  <a:pt x="587" y="826"/>
                </a:cubicBezTo>
                <a:cubicBezTo>
                  <a:pt x="598" y="829"/>
                  <a:pt x="608" y="832"/>
                  <a:pt x="619" y="835"/>
                </a:cubicBezTo>
                <a:cubicBezTo>
                  <a:pt x="630" y="838"/>
                  <a:pt x="640" y="841"/>
                  <a:pt x="651" y="844"/>
                </a:cubicBezTo>
                <a:cubicBezTo>
                  <a:pt x="978" y="941"/>
                  <a:pt x="1449" y="1079"/>
                  <a:pt x="1449" y="1079"/>
                </a:cubicBezTo>
                <a:cubicBezTo>
                  <a:pt x="1456" y="1081"/>
                  <a:pt x="1456" y="1081"/>
                  <a:pt x="1456" y="1081"/>
                </a:cubicBezTo>
                <a:cubicBezTo>
                  <a:pt x="1456" y="1081"/>
                  <a:pt x="1645" y="900"/>
                  <a:pt x="1826" y="727"/>
                </a:cubicBezTo>
                <a:cubicBezTo>
                  <a:pt x="1831" y="723"/>
                  <a:pt x="1835" y="718"/>
                  <a:pt x="1840" y="714"/>
                </a:cubicBezTo>
                <a:cubicBezTo>
                  <a:pt x="1844" y="710"/>
                  <a:pt x="1849" y="705"/>
                  <a:pt x="1853" y="701"/>
                </a:cubicBezTo>
                <a:cubicBezTo>
                  <a:pt x="1968" y="591"/>
                  <a:pt x="2075" y="489"/>
                  <a:pt x="2125" y="441"/>
                </a:cubicBezTo>
                <a:lnTo>
                  <a:pt x="2125" y="408"/>
                </a:ln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19" name="Rectangle 118"/>
          <p:cNvSpPr/>
          <p:nvPr/>
        </p:nvSpPr>
        <p:spPr>
          <a:xfrm>
            <a:off x="396451" y="3553511"/>
            <a:ext cx="3250684" cy="1225272"/>
          </a:xfrm>
          <a:prstGeom prst="rect">
            <a:avLst/>
          </a:prstGeom>
        </p:spPr>
        <p:txBody>
          <a:bodyPr wrap="square">
            <a:spAutoFit/>
          </a:bodyPr>
          <a:lstStyle/>
          <a:p>
            <a:pPr marL="363885" lvl="1" indent="-155951">
              <a:lnSpc>
                <a:spcPct val="120000"/>
              </a:lnSpc>
              <a:spcBef>
                <a:spcPct val="25000"/>
              </a:spcBef>
              <a:buFont typeface="Wingdings" panose="05000000000000000000" pitchFamily="2" charset="2"/>
              <a:buChar char="§"/>
            </a:pPr>
            <a:r>
              <a:rPr lang="en-GB" altLang="en-US" sz="910" b="1" dirty="0">
                <a:solidFill>
                  <a:srgbClr val="000000"/>
                </a:solidFill>
                <a:latin typeface="Arial" panose="020B0604020202020204" pitchFamily="34" charset="0"/>
                <a:cs typeface="Arial" panose="020B0604020202020204" pitchFamily="34" charset="0"/>
              </a:rPr>
              <a:t>2018</a:t>
            </a:r>
            <a:r>
              <a:rPr lang="zh-CN" altLang="en-US" sz="910" b="1" dirty="0">
                <a:solidFill>
                  <a:srgbClr val="000000"/>
                </a:solidFill>
                <a:latin typeface="Arial" panose="020B0604020202020204" pitchFamily="34" charset="0"/>
                <a:cs typeface="Arial" panose="020B0604020202020204" pitchFamily="34" charset="0"/>
              </a:rPr>
              <a:t>年新增 </a:t>
            </a:r>
            <a:r>
              <a:rPr lang="en-GB" altLang="en-US" sz="910" b="1" dirty="0">
                <a:solidFill>
                  <a:srgbClr val="000000"/>
                </a:solidFill>
                <a:latin typeface="Arial" panose="020B0604020202020204" pitchFamily="34" charset="0"/>
                <a:cs typeface="Arial" panose="020B0604020202020204" pitchFamily="34" charset="0"/>
              </a:rPr>
              <a:t>890,000 </a:t>
            </a:r>
            <a:r>
              <a:rPr lang="zh-CN" altLang="en-US" sz="910" b="1" dirty="0">
                <a:solidFill>
                  <a:srgbClr val="000000"/>
                </a:solidFill>
                <a:latin typeface="Arial" panose="020B0604020202020204" pitchFamily="34" charset="0"/>
                <a:cs typeface="Arial" panose="020B0604020202020204" pitchFamily="34" charset="0"/>
              </a:rPr>
              <a:t>条记录</a:t>
            </a:r>
            <a:endParaRPr lang="en-GB" altLang="en-US" sz="910" dirty="0">
              <a:solidFill>
                <a:srgbClr val="000000"/>
              </a:solidFill>
              <a:latin typeface="Arial" panose="020B0604020202020204" pitchFamily="34" charset="0"/>
              <a:cs typeface="Arial" panose="020B0604020202020204" pitchFamily="34" charset="0"/>
            </a:endParaRPr>
          </a:p>
          <a:p>
            <a:pPr marL="363885" lvl="1" indent="-155951">
              <a:lnSpc>
                <a:spcPct val="120000"/>
              </a:lnSpc>
              <a:spcBef>
                <a:spcPct val="25000"/>
              </a:spcBef>
              <a:buFont typeface="Wingdings" panose="05000000000000000000" pitchFamily="2" charset="2"/>
              <a:buChar char="§"/>
            </a:pPr>
            <a:r>
              <a:rPr lang="en-GB" altLang="en-US" sz="910" dirty="0">
                <a:solidFill>
                  <a:srgbClr val="000000"/>
                </a:solidFill>
                <a:latin typeface="Arial" panose="020B0604020202020204" pitchFamily="34" charset="0"/>
                <a:cs typeface="Arial" panose="020B0604020202020204" pitchFamily="34" charset="0"/>
              </a:rPr>
              <a:t>1898</a:t>
            </a:r>
            <a:r>
              <a:rPr lang="en-US" altLang="zh-CN" sz="910" dirty="0">
                <a:solidFill>
                  <a:srgbClr val="000000"/>
                </a:solidFill>
                <a:latin typeface="Arial" panose="020B0604020202020204" pitchFamily="34" charset="0"/>
                <a:cs typeface="Arial" panose="020B0604020202020204" pitchFamily="34" charset="0"/>
              </a:rPr>
              <a:t>-1968</a:t>
            </a:r>
            <a:r>
              <a:rPr lang="zh-CN" altLang="en-US" sz="910" dirty="0">
                <a:solidFill>
                  <a:srgbClr val="000000"/>
                </a:solidFill>
                <a:latin typeface="Arial" panose="020B0604020202020204" pitchFamily="34" charset="0"/>
                <a:cs typeface="Arial" panose="020B0604020202020204" pitchFamily="34" charset="0"/>
              </a:rPr>
              <a:t>可选回溯</a:t>
            </a:r>
            <a:r>
              <a:rPr lang="en-GB" altLang="en-US" sz="910" dirty="0">
                <a:solidFill>
                  <a:srgbClr val="000000"/>
                </a:solidFill>
                <a:latin typeface="Arial" panose="020B0604020202020204" pitchFamily="34" charset="0"/>
                <a:cs typeface="Arial" panose="020B0604020202020204" pitchFamily="34" charset="0"/>
              </a:rPr>
              <a:t> </a:t>
            </a:r>
            <a:r>
              <a:rPr lang="en-GB" altLang="en-US" sz="910" b="1" dirty="0">
                <a:solidFill>
                  <a:srgbClr val="000000"/>
                </a:solidFill>
                <a:latin typeface="Arial" panose="020B0604020202020204" pitchFamily="34" charset="0"/>
                <a:cs typeface="Arial" panose="020B0604020202020204" pitchFamily="34" charset="0"/>
              </a:rPr>
              <a:t>873,699</a:t>
            </a:r>
            <a:r>
              <a:rPr lang="zh-CN" altLang="en-US" sz="910" b="1" dirty="0">
                <a:solidFill>
                  <a:srgbClr val="000000"/>
                </a:solidFill>
                <a:latin typeface="Arial" panose="020B0604020202020204" pitchFamily="34" charset="0"/>
                <a:cs typeface="Arial" panose="020B0604020202020204" pitchFamily="34" charset="0"/>
              </a:rPr>
              <a:t>条</a:t>
            </a:r>
            <a:endParaRPr lang="en-GB" altLang="en-US" sz="910" b="1" dirty="0">
              <a:solidFill>
                <a:srgbClr val="000000"/>
              </a:solidFill>
              <a:latin typeface="Arial" panose="020B0604020202020204" pitchFamily="34" charset="0"/>
              <a:cs typeface="Arial" panose="020B0604020202020204" pitchFamily="34" charset="0"/>
            </a:endParaRPr>
          </a:p>
          <a:p>
            <a:pPr marL="363885" lvl="1" indent="-155951">
              <a:lnSpc>
                <a:spcPct val="120000"/>
              </a:lnSpc>
              <a:spcBef>
                <a:spcPct val="25000"/>
              </a:spcBef>
              <a:buFont typeface="Wingdings" panose="05000000000000000000" pitchFamily="2" charset="2"/>
              <a:buChar char="§"/>
            </a:pPr>
            <a:r>
              <a:rPr lang="zh-CN" altLang="en-US" sz="910" dirty="0">
                <a:solidFill>
                  <a:srgbClr val="000000"/>
                </a:solidFill>
                <a:latin typeface="Arial" panose="020B0604020202020204" pitchFamily="34" charset="0"/>
                <a:cs typeface="Arial" panose="020B0604020202020204" pitchFamily="34" charset="0"/>
              </a:rPr>
              <a:t>收录来自</a:t>
            </a:r>
            <a:r>
              <a:rPr lang="en-US" altLang="zh-CN" sz="910" dirty="0">
                <a:solidFill>
                  <a:srgbClr val="000000"/>
                </a:solidFill>
                <a:latin typeface="Arial" panose="020B0604020202020204" pitchFamily="34" charset="0"/>
                <a:cs typeface="Arial" panose="020B0604020202020204" pitchFamily="34" charset="0"/>
              </a:rPr>
              <a:t>700</a:t>
            </a:r>
            <a:r>
              <a:rPr lang="zh-CN" altLang="en-US" sz="910" dirty="0">
                <a:solidFill>
                  <a:srgbClr val="000000"/>
                </a:solidFill>
                <a:latin typeface="Arial" panose="020B0604020202020204" pitchFamily="34" charset="0"/>
                <a:cs typeface="Arial" panose="020B0604020202020204" pitchFamily="34" charset="0"/>
              </a:rPr>
              <a:t>多家出版社的</a:t>
            </a:r>
            <a:r>
              <a:rPr lang="en-GB" altLang="en-US" sz="910" b="1" dirty="0">
                <a:solidFill>
                  <a:srgbClr val="000000"/>
                </a:solidFill>
                <a:latin typeface="Arial" panose="020B0604020202020204" pitchFamily="34" charset="0"/>
                <a:cs typeface="Arial" panose="020B0604020202020204" pitchFamily="34" charset="0"/>
              </a:rPr>
              <a:t>4,500</a:t>
            </a:r>
            <a:r>
              <a:rPr lang="zh-CN" altLang="en-US" sz="910" b="1" dirty="0">
                <a:solidFill>
                  <a:srgbClr val="000000"/>
                </a:solidFill>
                <a:latin typeface="Arial" panose="020B0604020202020204" pitchFamily="34" charset="0"/>
                <a:cs typeface="Arial" panose="020B0604020202020204" pitchFamily="34" charset="0"/>
              </a:rPr>
              <a:t>多个期刊</a:t>
            </a:r>
            <a:r>
              <a:rPr lang="en-GB" altLang="en-US" sz="910" b="1" dirty="0">
                <a:solidFill>
                  <a:srgbClr val="000000"/>
                </a:solidFill>
                <a:latin typeface="Arial" panose="020B0604020202020204" pitchFamily="34" charset="0"/>
                <a:cs typeface="Arial" panose="020B0604020202020204" pitchFamily="34" charset="0"/>
              </a:rPr>
              <a:t>, 3,000 </a:t>
            </a:r>
            <a:r>
              <a:rPr lang="zh-CN" altLang="en-US" sz="910" b="1" dirty="0">
                <a:solidFill>
                  <a:srgbClr val="000000"/>
                </a:solidFill>
                <a:latin typeface="Arial" panose="020B0604020202020204" pitchFamily="34" charset="0"/>
                <a:cs typeface="Arial" panose="020B0604020202020204" pitchFamily="34" charset="0"/>
              </a:rPr>
              <a:t>多种包括会议论文，图书，预印本等各类型文献</a:t>
            </a:r>
            <a:endParaRPr lang="en-GB" altLang="en-US" sz="910" dirty="0">
              <a:solidFill>
                <a:srgbClr val="000000"/>
              </a:solidFill>
              <a:latin typeface="Arial" panose="020B0604020202020204" pitchFamily="34" charset="0"/>
              <a:cs typeface="Arial" panose="020B0604020202020204" pitchFamily="34" charset="0"/>
            </a:endParaRPr>
          </a:p>
          <a:p>
            <a:pPr marL="363885" lvl="1" indent="-155951">
              <a:lnSpc>
                <a:spcPct val="120000"/>
              </a:lnSpc>
              <a:spcBef>
                <a:spcPct val="25000"/>
              </a:spcBef>
              <a:buFont typeface="Wingdings" panose="05000000000000000000" pitchFamily="2" charset="2"/>
              <a:buChar char="§"/>
            </a:pPr>
            <a:r>
              <a:rPr lang="en-GB" sz="910" b="1" dirty="0">
                <a:solidFill>
                  <a:srgbClr val="8DC63F"/>
                </a:solidFill>
                <a:latin typeface="Arial" panose="020B0604020202020204" pitchFamily="34" charset="0"/>
                <a:cs typeface="Arial" panose="020B0604020202020204" pitchFamily="34" charset="0"/>
              </a:rPr>
              <a:t>10% </a:t>
            </a:r>
            <a:r>
              <a:rPr lang="zh-CN" altLang="en-US" sz="910" b="1" dirty="0">
                <a:solidFill>
                  <a:srgbClr val="8DC63F"/>
                </a:solidFill>
                <a:latin typeface="Arial" panose="020B0604020202020204" pitchFamily="34" charset="0"/>
                <a:cs typeface="Arial" panose="020B0604020202020204" pitchFamily="34" charset="0"/>
              </a:rPr>
              <a:t>以上为 </a:t>
            </a:r>
            <a:r>
              <a:rPr lang="en-GB" sz="910" dirty="0">
                <a:solidFill>
                  <a:srgbClr val="000000"/>
                </a:solidFill>
                <a:latin typeface="Arial" panose="020B0604020202020204" pitchFamily="34" charset="0"/>
                <a:cs typeface="Arial" panose="020B0604020202020204" pitchFamily="34" charset="0"/>
              </a:rPr>
              <a:t>open access</a:t>
            </a:r>
            <a:endParaRPr lang="en-US" sz="910" dirty="0">
              <a:solidFill>
                <a:srgbClr val="000000"/>
              </a:solidFill>
              <a:latin typeface="Arial" panose="020B0604020202020204" pitchFamily="34" charset="0"/>
              <a:cs typeface="Arial" panose="020B0604020202020204" pitchFamily="34" charset="0"/>
            </a:endParaRPr>
          </a:p>
          <a:p>
            <a:pPr marL="363885" lvl="1" indent="-155951">
              <a:lnSpc>
                <a:spcPct val="120000"/>
              </a:lnSpc>
              <a:spcBef>
                <a:spcPct val="25000"/>
              </a:spcBef>
              <a:buFont typeface="Arial" panose="020B0604020202020204" pitchFamily="34" charset="0"/>
              <a:buChar char="•"/>
            </a:pPr>
            <a:endParaRPr lang="en-GB" altLang="en-US" sz="910" b="1" dirty="0">
              <a:solidFill>
                <a:srgbClr val="000000"/>
              </a:solidFill>
              <a:latin typeface="Arial" panose="020B0604020202020204" pitchFamily="34" charset="0"/>
              <a:cs typeface="Arial" panose="020B0604020202020204" pitchFamily="34" charset="0"/>
            </a:endParaRPr>
          </a:p>
        </p:txBody>
      </p:sp>
      <p:cxnSp>
        <p:nvCxnSpPr>
          <p:cNvPr id="132" name="Straight Connector 131"/>
          <p:cNvCxnSpPr/>
          <p:nvPr/>
        </p:nvCxnSpPr>
        <p:spPr>
          <a:xfrm>
            <a:off x="3740261" y="3299522"/>
            <a:ext cx="0" cy="99889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875006" y="1690627"/>
            <a:ext cx="561961" cy="1063618"/>
            <a:chOff x="3952875" y="1435101"/>
            <a:chExt cx="317500" cy="608013"/>
          </a:xfrm>
        </p:grpSpPr>
        <p:sp>
          <p:nvSpPr>
            <p:cNvPr id="134" name="Freeform 11"/>
            <p:cNvSpPr>
              <a:spLocks noEditPoints="1"/>
            </p:cNvSpPr>
            <p:nvPr/>
          </p:nvSpPr>
          <p:spPr bwMode="auto">
            <a:xfrm>
              <a:off x="3952875" y="1435101"/>
              <a:ext cx="317500" cy="608013"/>
            </a:xfrm>
            <a:custGeom>
              <a:avLst/>
              <a:gdLst>
                <a:gd name="T0" fmla="*/ 185 w 289"/>
                <a:gd name="T1" fmla="*/ 145 h 551"/>
                <a:gd name="T2" fmla="*/ 288 w 289"/>
                <a:gd name="T3" fmla="*/ 14 h 551"/>
                <a:gd name="T4" fmla="*/ 273 w 289"/>
                <a:gd name="T5" fmla="*/ 0 h 551"/>
                <a:gd name="T6" fmla="*/ 259 w 289"/>
                <a:gd name="T7" fmla="*/ 14 h 551"/>
                <a:gd name="T8" fmla="*/ 151 w 289"/>
                <a:gd name="T9" fmla="*/ 127 h 551"/>
                <a:gd name="T10" fmla="*/ 144 w 289"/>
                <a:gd name="T11" fmla="*/ 129 h 551"/>
                <a:gd name="T12" fmla="*/ 138 w 289"/>
                <a:gd name="T13" fmla="*/ 127 h 551"/>
                <a:gd name="T14" fmla="*/ 30 w 289"/>
                <a:gd name="T15" fmla="*/ 14 h 551"/>
                <a:gd name="T16" fmla="*/ 16 w 289"/>
                <a:gd name="T17" fmla="*/ 0 h 551"/>
                <a:gd name="T18" fmla="*/ 1 w 289"/>
                <a:gd name="T19" fmla="*/ 14 h 551"/>
                <a:gd name="T20" fmla="*/ 104 w 289"/>
                <a:gd name="T21" fmla="*/ 145 h 551"/>
                <a:gd name="T22" fmla="*/ 1 w 289"/>
                <a:gd name="T23" fmla="*/ 270 h 551"/>
                <a:gd name="T24" fmla="*/ 2 w 289"/>
                <a:gd name="T25" fmla="*/ 275 h 551"/>
                <a:gd name="T26" fmla="*/ 1 w 289"/>
                <a:gd name="T27" fmla="*/ 280 h 551"/>
                <a:gd name="T28" fmla="*/ 104 w 289"/>
                <a:gd name="T29" fmla="*/ 411 h 551"/>
                <a:gd name="T30" fmla="*/ 1 w 289"/>
                <a:gd name="T31" fmla="*/ 536 h 551"/>
                <a:gd name="T32" fmla="*/ 15 w 289"/>
                <a:gd name="T33" fmla="*/ 551 h 551"/>
                <a:gd name="T34" fmla="*/ 16 w 289"/>
                <a:gd name="T35" fmla="*/ 551 h 551"/>
                <a:gd name="T36" fmla="*/ 30 w 289"/>
                <a:gd name="T37" fmla="*/ 537 h 551"/>
                <a:gd name="T38" fmla="*/ 144 w 289"/>
                <a:gd name="T39" fmla="*/ 426 h 551"/>
                <a:gd name="T40" fmla="*/ 259 w 289"/>
                <a:gd name="T41" fmla="*/ 537 h 551"/>
                <a:gd name="T42" fmla="*/ 273 w 289"/>
                <a:gd name="T43" fmla="*/ 551 h 551"/>
                <a:gd name="T44" fmla="*/ 274 w 289"/>
                <a:gd name="T45" fmla="*/ 551 h 551"/>
                <a:gd name="T46" fmla="*/ 288 w 289"/>
                <a:gd name="T47" fmla="*/ 536 h 551"/>
                <a:gd name="T48" fmla="*/ 185 w 289"/>
                <a:gd name="T49" fmla="*/ 411 h 551"/>
                <a:gd name="T50" fmla="*/ 288 w 289"/>
                <a:gd name="T51" fmla="*/ 280 h 551"/>
                <a:gd name="T52" fmla="*/ 287 w 289"/>
                <a:gd name="T53" fmla="*/ 275 h 551"/>
                <a:gd name="T54" fmla="*/ 288 w 289"/>
                <a:gd name="T55" fmla="*/ 270 h 551"/>
                <a:gd name="T56" fmla="*/ 185 w 289"/>
                <a:gd name="T57" fmla="*/ 145 h 551"/>
                <a:gd name="T58" fmla="*/ 151 w 289"/>
                <a:gd name="T59" fmla="*/ 393 h 551"/>
                <a:gd name="T60" fmla="*/ 144 w 289"/>
                <a:gd name="T61" fmla="*/ 395 h 551"/>
                <a:gd name="T62" fmla="*/ 138 w 289"/>
                <a:gd name="T63" fmla="*/ 393 h 551"/>
                <a:gd name="T64" fmla="*/ 30 w 289"/>
                <a:gd name="T65" fmla="*/ 281 h 551"/>
                <a:gd name="T66" fmla="*/ 29 w 289"/>
                <a:gd name="T67" fmla="*/ 275 h 551"/>
                <a:gd name="T68" fmla="*/ 30 w 289"/>
                <a:gd name="T69" fmla="*/ 271 h 551"/>
                <a:gd name="T70" fmla="*/ 144 w 289"/>
                <a:gd name="T71" fmla="*/ 159 h 551"/>
                <a:gd name="T72" fmla="*/ 259 w 289"/>
                <a:gd name="T73" fmla="*/ 271 h 551"/>
                <a:gd name="T74" fmla="*/ 260 w 289"/>
                <a:gd name="T75" fmla="*/ 275 h 551"/>
                <a:gd name="T76" fmla="*/ 259 w 289"/>
                <a:gd name="T77" fmla="*/ 281 h 551"/>
                <a:gd name="T78" fmla="*/ 151 w 289"/>
                <a:gd name="T79" fmla="*/ 3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9" h="551">
                  <a:moveTo>
                    <a:pt x="185" y="145"/>
                  </a:moveTo>
                  <a:cubicBezTo>
                    <a:pt x="255" y="118"/>
                    <a:pt x="289" y="74"/>
                    <a:pt x="288" y="14"/>
                  </a:cubicBezTo>
                  <a:cubicBezTo>
                    <a:pt x="288" y="6"/>
                    <a:pt x="281" y="0"/>
                    <a:pt x="273" y="0"/>
                  </a:cubicBezTo>
                  <a:cubicBezTo>
                    <a:pt x="265" y="0"/>
                    <a:pt x="259" y="7"/>
                    <a:pt x="259" y="14"/>
                  </a:cubicBezTo>
                  <a:cubicBezTo>
                    <a:pt x="260" y="51"/>
                    <a:pt x="248" y="97"/>
                    <a:pt x="151" y="127"/>
                  </a:cubicBezTo>
                  <a:cubicBezTo>
                    <a:pt x="149" y="127"/>
                    <a:pt x="147" y="128"/>
                    <a:pt x="144" y="129"/>
                  </a:cubicBezTo>
                  <a:cubicBezTo>
                    <a:pt x="142" y="128"/>
                    <a:pt x="140" y="127"/>
                    <a:pt x="138" y="127"/>
                  </a:cubicBezTo>
                  <a:cubicBezTo>
                    <a:pt x="41" y="97"/>
                    <a:pt x="29" y="51"/>
                    <a:pt x="30" y="14"/>
                  </a:cubicBezTo>
                  <a:cubicBezTo>
                    <a:pt x="30" y="7"/>
                    <a:pt x="24" y="0"/>
                    <a:pt x="16" y="0"/>
                  </a:cubicBezTo>
                  <a:cubicBezTo>
                    <a:pt x="8" y="0"/>
                    <a:pt x="1" y="6"/>
                    <a:pt x="1" y="14"/>
                  </a:cubicBezTo>
                  <a:cubicBezTo>
                    <a:pt x="0" y="74"/>
                    <a:pt x="34" y="118"/>
                    <a:pt x="104" y="145"/>
                  </a:cubicBezTo>
                  <a:cubicBezTo>
                    <a:pt x="6" y="194"/>
                    <a:pt x="1" y="266"/>
                    <a:pt x="1" y="270"/>
                  </a:cubicBezTo>
                  <a:cubicBezTo>
                    <a:pt x="1" y="272"/>
                    <a:pt x="2" y="274"/>
                    <a:pt x="2" y="275"/>
                  </a:cubicBezTo>
                  <a:cubicBezTo>
                    <a:pt x="2" y="277"/>
                    <a:pt x="1" y="278"/>
                    <a:pt x="1" y="280"/>
                  </a:cubicBezTo>
                  <a:cubicBezTo>
                    <a:pt x="0" y="341"/>
                    <a:pt x="34" y="384"/>
                    <a:pt x="104" y="411"/>
                  </a:cubicBezTo>
                  <a:cubicBezTo>
                    <a:pt x="6" y="460"/>
                    <a:pt x="1" y="532"/>
                    <a:pt x="1" y="536"/>
                  </a:cubicBezTo>
                  <a:cubicBezTo>
                    <a:pt x="1" y="544"/>
                    <a:pt x="7" y="551"/>
                    <a:pt x="15" y="551"/>
                  </a:cubicBezTo>
                  <a:cubicBezTo>
                    <a:pt x="15" y="551"/>
                    <a:pt x="15" y="551"/>
                    <a:pt x="16" y="551"/>
                  </a:cubicBezTo>
                  <a:cubicBezTo>
                    <a:pt x="23" y="551"/>
                    <a:pt x="30" y="545"/>
                    <a:pt x="30" y="537"/>
                  </a:cubicBezTo>
                  <a:cubicBezTo>
                    <a:pt x="30" y="534"/>
                    <a:pt x="35" y="465"/>
                    <a:pt x="144" y="426"/>
                  </a:cubicBezTo>
                  <a:cubicBezTo>
                    <a:pt x="253" y="465"/>
                    <a:pt x="259" y="534"/>
                    <a:pt x="259" y="537"/>
                  </a:cubicBezTo>
                  <a:cubicBezTo>
                    <a:pt x="259" y="545"/>
                    <a:pt x="266" y="551"/>
                    <a:pt x="273" y="551"/>
                  </a:cubicBezTo>
                  <a:cubicBezTo>
                    <a:pt x="273" y="551"/>
                    <a:pt x="274" y="551"/>
                    <a:pt x="274" y="551"/>
                  </a:cubicBezTo>
                  <a:cubicBezTo>
                    <a:pt x="282" y="551"/>
                    <a:pt x="288" y="544"/>
                    <a:pt x="288" y="536"/>
                  </a:cubicBezTo>
                  <a:cubicBezTo>
                    <a:pt x="288" y="532"/>
                    <a:pt x="283" y="460"/>
                    <a:pt x="185" y="411"/>
                  </a:cubicBezTo>
                  <a:cubicBezTo>
                    <a:pt x="255" y="384"/>
                    <a:pt x="289" y="341"/>
                    <a:pt x="288" y="280"/>
                  </a:cubicBezTo>
                  <a:cubicBezTo>
                    <a:pt x="288" y="278"/>
                    <a:pt x="287" y="277"/>
                    <a:pt x="287" y="275"/>
                  </a:cubicBezTo>
                  <a:cubicBezTo>
                    <a:pt x="287" y="274"/>
                    <a:pt x="288" y="272"/>
                    <a:pt x="288" y="270"/>
                  </a:cubicBezTo>
                  <a:cubicBezTo>
                    <a:pt x="288" y="266"/>
                    <a:pt x="283" y="194"/>
                    <a:pt x="185" y="145"/>
                  </a:cubicBezTo>
                  <a:close/>
                  <a:moveTo>
                    <a:pt x="151" y="393"/>
                  </a:moveTo>
                  <a:cubicBezTo>
                    <a:pt x="149" y="394"/>
                    <a:pt x="147" y="394"/>
                    <a:pt x="144" y="395"/>
                  </a:cubicBezTo>
                  <a:cubicBezTo>
                    <a:pt x="142" y="394"/>
                    <a:pt x="140" y="394"/>
                    <a:pt x="138" y="393"/>
                  </a:cubicBezTo>
                  <a:cubicBezTo>
                    <a:pt x="41" y="363"/>
                    <a:pt x="29" y="317"/>
                    <a:pt x="30" y="281"/>
                  </a:cubicBezTo>
                  <a:cubicBezTo>
                    <a:pt x="30" y="279"/>
                    <a:pt x="30" y="277"/>
                    <a:pt x="29" y="275"/>
                  </a:cubicBezTo>
                  <a:cubicBezTo>
                    <a:pt x="30" y="274"/>
                    <a:pt x="30" y="272"/>
                    <a:pt x="30" y="271"/>
                  </a:cubicBezTo>
                  <a:cubicBezTo>
                    <a:pt x="30" y="270"/>
                    <a:pt x="34" y="200"/>
                    <a:pt x="144" y="159"/>
                  </a:cubicBezTo>
                  <a:cubicBezTo>
                    <a:pt x="253" y="199"/>
                    <a:pt x="259" y="268"/>
                    <a:pt x="259" y="271"/>
                  </a:cubicBezTo>
                  <a:cubicBezTo>
                    <a:pt x="259" y="273"/>
                    <a:pt x="259" y="274"/>
                    <a:pt x="260" y="275"/>
                  </a:cubicBezTo>
                  <a:cubicBezTo>
                    <a:pt x="259" y="277"/>
                    <a:pt x="259" y="279"/>
                    <a:pt x="259" y="281"/>
                  </a:cubicBezTo>
                  <a:cubicBezTo>
                    <a:pt x="260" y="317"/>
                    <a:pt x="248" y="363"/>
                    <a:pt x="151" y="393"/>
                  </a:cubicBezTo>
                  <a:close/>
                </a:path>
              </a:pathLst>
            </a:custGeom>
            <a:solidFill>
              <a:srgbClr val="010101"/>
            </a:solid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35" name="Freeform 12"/>
            <p:cNvSpPr/>
            <p:nvPr/>
          </p:nvSpPr>
          <p:spPr bwMode="auto">
            <a:xfrm>
              <a:off x="4014788" y="1479551"/>
              <a:ext cx="192087" cy="31750"/>
            </a:xfrm>
            <a:custGeom>
              <a:avLst/>
              <a:gdLst>
                <a:gd name="T0" fmla="*/ 14 w 175"/>
                <a:gd name="T1" fmla="*/ 29 h 29"/>
                <a:gd name="T2" fmla="*/ 161 w 175"/>
                <a:gd name="T3" fmla="*/ 29 h 29"/>
                <a:gd name="T4" fmla="*/ 175 w 175"/>
                <a:gd name="T5" fmla="*/ 15 h 29"/>
                <a:gd name="T6" fmla="*/ 161 w 175"/>
                <a:gd name="T7" fmla="*/ 0 h 29"/>
                <a:gd name="T8" fmla="*/ 14 w 175"/>
                <a:gd name="T9" fmla="*/ 0 h 29"/>
                <a:gd name="T10" fmla="*/ 0 w 175"/>
                <a:gd name="T11" fmla="*/ 15 h 29"/>
                <a:gd name="T12" fmla="*/ 14 w 17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4" y="29"/>
                  </a:moveTo>
                  <a:cubicBezTo>
                    <a:pt x="161" y="29"/>
                    <a:pt x="161" y="29"/>
                    <a:pt x="161" y="29"/>
                  </a:cubicBezTo>
                  <a:cubicBezTo>
                    <a:pt x="169" y="29"/>
                    <a:pt x="175" y="23"/>
                    <a:pt x="175" y="15"/>
                  </a:cubicBezTo>
                  <a:cubicBezTo>
                    <a:pt x="175" y="7"/>
                    <a:pt x="169" y="0"/>
                    <a:pt x="161" y="0"/>
                  </a:cubicBezTo>
                  <a:cubicBezTo>
                    <a:pt x="14" y="0"/>
                    <a:pt x="14" y="0"/>
                    <a:pt x="14" y="0"/>
                  </a:cubicBezTo>
                  <a:cubicBezTo>
                    <a:pt x="6" y="0"/>
                    <a:pt x="0" y="7"/>
                    <a:pt x="0" y="15"/>
                  </a:cubicBezTo>
                  <a:cubicBezTo>
                    <a:pt x="0" y="23"/>
                    <a:pt x="6" y="29"/>
                    <a:pt x="14" y="29"/>
                  </a:cubicBezTo>
                  <a:close/>
                </a:path>
              </a:pathLst>
            </a:custGeom>
            <a:solidFill>
              <a:srgbClr val="010101"/>
            </a:solid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36" name="Freeform 13"/>
            <p:cNvSpPr/>
            <p:nvPr/>
          </p:nvSpPr>
          <p:spPr bwMode="auto">
            <a:xfrm>
              <a:off x="4014788" y="1976438"/>
              <a:ext cx="192087" cy="31750"/>
            </a:xfrm>
            <a:custGeom>
              <a:avLst/>
              <a:gdLst>
                <a:gd name="T0" fmla="*/ 161 w 175"/>
                <a:gd name="T1" fmla="*/ 0 h 28"/>
                <a:gd name="T2" fmla="*/ 14 w 175"/>
                <a:gd name="T3" fmla="*/ 0 h 28"/>
                <a:gd name="T4" fmla="*/ 0 w 175"/>
                <a:gd name="T5" fmla="*/ 14 h 28"/>
                <a:gd name="T6" fmla="*/ 14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4" y="0"/>
                    <a:pt x="14" y="0"/>
                    <a:pt x="14" y="0"/>
                  </a:cubicBezTo>
                  <a:cubicBezTo>
                    <a:pt x="6" y="0"/>
                    <a:pt x="0" y="6"/>
                    <a:pt x="0" y="14"/>
                  </a:cubicBezTo>
                  <a:cubicBezTo>
                    <a:pt x="0" y="22"/>
                    <a:pt x="6" y="28"/>
                    <a:pt x="14" y="28"/>
                  </a:cubicBezTo>
                  <a:cubicBezTo>
                    <a:pt x="161" y="28"/>
                    <a:pt x="161" y="28"/>
                    <a:pt x="161" y="28"/>
                  </a:cubicBezTo>
                  <a:cubicBezTo>
                    <a:pt x="169" y="28"/>
                    <a:pt x="175" y="22"/>
                    <a:pt x="175" y="14"/>
                  </a:cubicBezTo>
                  <a:cubicBezTo>
                    <a:pt x="175" y="6"/>
                    <a:pt x="169" y="0"/>
                    <a:pt x="161" y="0"/>
                  </a:cubicBezTo>
                  <a:close/>
                </a:path>
              </a:pathLst>
            </a:custGeom>
            <a:solidFill>
              <a:srgbClr val="010101"/>
            </a:solid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37" name="Freeform 14"/>
            <p:cNvSpPr/>
            <p:nvPr/>
          </p:nvSpPr>
          <p:spPr bwMode="auto">
            <a:xfrm>
              <a:off x="4014788" y="1679576"/>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7"/>
                    <a:pt x="0" y="14"/>
                  </a:cubicBezTo>
                  <a:cubicBezTo>
                    <a:pt x="0" y="22"/>
                    <a:pt x="6" y="29"/>
                    <a:pt x="14" y="29"/>
                  </a:cubicBezTo>
                  <a:cubicBezTo>
                    <a:pt x="161" y="29"/>
                    <a:pt x="161" y="29"/>
                    <a:pt x="161" y="29"/>
                  </a:cubicBezTo>
                  <a:cubicBezTo>
                    <a:pt x="169" y="29"/>
                    <a:pt x="175" y="22"/>
                    <a:pt x="175" y="14"/>
                  </a:cubicBezTo>
                  <a:cubicBezTo>
                    <a:pt x="175" y="7"/>
                    <a:pt x="169" y="0"/>
                    <a:pt x="161" y="0"/>
                  </a:cubicBezTo>
                  <a:close/>
                </a:path>
              </a:pathLst>
            </a:custGeom>
            <a:solidFill>
              <a:srgbClr val="010101"/>
            </a:solid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38" name="Freeform 15"/>
            <p:cNvSpPr/>
            <p:nvPr/>
          </p:nvSpPr>
          <p:spPr bwMode="auto">
            <a:xfrm>
              <a:off x="4014788" y="1766888"/>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6"/>
                    <a:pt x="0" y="14"/>
                  </a:cubicBezTo>
                  <a:cubicBezTo>
                    <a:pt x="0" y="22"/>
                    <a:pt x="6" y="29"/>
                    <a:pt x="14" y="29"/>
                  </a:cubicBezTo>
                  <a:cubicBezTo>
                    <a:pt x="161" y="29"/>
                    <a:pt x="161" y="29"/>
                    <a:pt x="161" y="29"/>
                  </a:cubicBezTo>
                  <a:cubicBezTo>
                    <a:pt x="169" y="29"/>
                    <a:pt x="175" y="22"/>
                    <a:pt x="175" y="14"/>
                  </a:cubicBezTo>
                  <a:cubicBezTo>
                    <a:pt x="175" y="6"/>
                    <a:pt x="169" y="0"/>
                    <a:pt x="161" y="0"/>
                  </a:cubicBezTo>
                  <a:close/>
                </a:path>
              </a:pathLst>
            </a:custGeom>
            <a:solidFill>
              <a:srgbClr val="010101"/>
            </a:solid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grpSp>
      <p:grpSp>
        <p:nvGrpSpPr>
          <p:cNvPr id="139" name="Group 138"/>
          <p:cNvGrpSpPr/>
          <p:nvPr/>
        </p:nvGrpSpPr>
        <p:grpSpPr>
          <a:xfrm>
            <a:off x="2893822" y="1788671"/>
            <a:ext cx="479084" cy="969287"/>
            <a:chOff x="3952875" y="1435101"/>
            <a:chExt cx="317500" cy="608013"/>
          </a:xfrm>
          <a:solidFill>
            <a:srgbClr val="8DC63F"/>
          </a:solidFill>
        </p:grpSpPr>
        <p:sp>
          <p:nvSpPr>
            <p:cNvPr id="140" name="Freeform 11"/>
            <p:cNvSpPr>
              <a:spLocks noEditPoints="1"/>
            </p:cNvSpPr>
            <p:nvPr/>
          </p:nvSpPr>
          <p:spPr bwMode="auto">
            <a:xfrm>
              <a:off x="3952875" y="1435101"/>
              <a:ext cx="317500" cy="608013"/>
            </a:xfrm>
            <a:custGeom>
              <a:avLst/>
              <a:gdLst>
                <a:gd name="T0" fmla="*/ 185 w 289"/>
                <a:gd name="T1" fmla="*/ 145 h 551"/>
                <a:gd name="T2" fmla="*/ 288 w 289"/>
                <a:gd name="T3" fmla="*/ 14 h 551"/>
                <a:gd name="T4" fmla="*/ 273 w 289"/>
                <a:gd name="T5" fmla="*/ 0 h 551"/>
                <a:gd name="T6" fmla="*/ 259 w 289"/>
                <a:gd name="T7" fmla="*/ 14 h 551"/>
                <a:gd name="T8" fmla="*/ 151 w 289"/>
                <a:gd name="T9" fmla="*/ 127 h 551"/>
                <a:gd name="T10" fmla="*/ 144 w 289"/>
                <a:gd name="T11" fmla="*/ 129 h 551"/>
                <a:gd name="T12" fmla="*/ 138 w 289"/>
                <a:gd name="T13" fmla="*/ 127 h 551"/>
                <a:gd name="T14" fmla="*/ 30 w 289"/>
                <a:gd name="T15" fmla="*/ 14 h 551"/>
                <a:gd name="T16" fmla="*/ 16 w 289"/>
                <a:gd name="T17" fmla="*/ 0 h 551"/>
                <a:gd name="T18" fmla="*/ 1 w 289"/>
                <a:gd name="T19" fmla="*/ 14 h 551"/>
                <a:gd name="T20" fmla="*/ 104 w 289"/>
                <a:gd name="T21" fmla="*/ 145 h 551"/>
                <a:gd name="T22" fmla="*/ 1 w 289"/>
                <a:gd name="T23" fmla="*/ 270 h 551"/>
                <a:gd name="T24" fmla="*/ 2 w 289"/>
                <a:gd name="T25" fmla="*/ 275 h 551"/>
                <a:gd name="T26" fmla="*/ 1 w 289"/>
                <a:gd name="T27" fmla="*/ 280 h 551"/>
                <a:gd name="T28" fmla="*/ 104 w 289"/>
                <a:gd name="T29" fmla="*/ 411 h 551"/>
                <a:gd name="T30" fmla="*/ 1 w 289"/>
                <a:gd name="T31" fmla="*/ 536 h 551"/>
                <a:gd name="T32" fmla="*/ 15 w 289"/>
                <a:gd name="T33" fmla="*/ 551 h 551"/>
                <a:gd name="T34" fmla="*/ 16 w 289"/>
                <a:gd name="T35" fmla="*/ 551 h 551"/>
                <a:gd name="T36" fmla="*/ 30 w 289"/>
                <a:gd name="T37" fmla="*/ 537 h 551"/>
                <a:gd name="T38" fmla="*/ 144 w 289"/>
                <a:gd name="T39" fmla="*/ 426 h 551"/>
                <a:gd name="T40" fmla="*/ 259 w 289"/>
                <a:gd name="T41" fmla="*/ 537 h 551"/>
                <a:gd name="T42" fmla="*/ 273 w 289"/>
                <a:gd name="T43" fmla="*/ 551 h 551"/>
                <a:gd name="T44" fmla="*/ 274 w 289"/>
                <a:gd name="T45" fmla="*/ 551 h 551"/>
                <a:gd name="T46" fmla="*/ 288 w 289"/>
                <a:gd name="T47" fmla="*/ 536 h 551"/>
                <a:gd name="T48" fmla="*/ 185 w 289"/>
                <a:gd name="T49" fmla="*/ 411 h 551"/>
                <a:gd name="T50" fmla="*/ 288 w 289"/>
                <a:gd name="T51" fmla="*/ 280 h 551"/>
                <a:gd name="T52" fmla="*/ 287 w 289"/>
                <a:gd name="T53" fmla="*/ 275 h 551"/>
                <a:gd name="T54" fmla="*/ 288 w 289"/>
                <a:gd name="T55" fmla="*/ 270 h 551"/>
                <a:gd name="T56" fmla="*/ 185 w 289"/>
                <a:gd name="T57" fmla="*/ 145 h 551"/>
                <a:gd name="T58" fmla="*/ 151 w 289"/>
                <a:gd name="T59" fmla="*/ 393 h 551"/>
                <a:gd name="T60" fmla="*/ 144 w 289"/>
                <a:gd name="T61" fmla="*/ 395 h 551"/>
                <a:gd name="T62" fmla="*/ 138 w 289"/>
                <a:gd name="T63" fmla="*/ 393 h 551"/>
                <a:gd name="T64" fmla="*/ 30 w 289"/>
                <a:gd name="T65" fmla="*/ 281 h 551"/>
                <a:gd name="T66" fmla="*/ 29 w 289"/>
                <a:gd name="T67" fmla="*/ 275 h 551"/>
                <a:gd name="T68" fmla="*/ 30 w 289"/>
                <a:gd name="T69" fmla="*/ 271 h 551"/>
                <a:gd name="T70" fmla="*/ 144 w 289"/>
                <a:gd name="T71" fmla="*/ 159 h 551"/>
                <a:gd name="T72" fmla="*/ 259 w 289"/>
                <a:gd name="T73" fmla="*/ 271 h 551"/>
                <a:gd name="T74" fmla="*/ 260 w 289"/>
                <a:gd name="T75" fmla="*/ 275 h 551"/>
                <a:gd name="T76" fmla="*/ 259 w 289"/>
                <a:gd name="T77" fmla="*/ 281 h 551"/>
                <a:gd name="T78" fmla="*/ 151 w 289"/>
                <a:gd name="T79" fmla="*/ 3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9" h="551">
                  <a:moveTo>
                    <a:pt x="185" y="145"/>
                  </a:moveTo>
                  <a:cubicBezTo>
                    <a:pt x="255" y="118"/>
                    <a:pt x="289" y="74"/>
                    <a:pt x="288" y="14"/>
                  </a:cubicBezTo>
                  <a:cubicBezTo>
                    <a:pt x="288" y="6"/>
                    <a:pt x="281" y="0"/>
                    <a:pt x="273" y="0"/>
                  </a:cubicBezTo>
                  <a:cubicBezTo>
                    <a:pt x="265" y="0"/>
                    <a:pt x="259" y="7"/>
                    <a:pt x="259" y="14"/>
                  </a:cubicBezTo>
                  <a:cubicBezTo>
                    <a:pt x="260" y="51"/>
                    <a:pt x="248" y="97"/>
                    <a:pt x="151" y="127"/>
                  </a:cubicBezTo>
                  <a:cubicBezTo>
                    <a:pt x="149" y="127"/>
                    <a:pt x="147" y="128"/>
                    <a:pt x="144" y="129"/>
                  </a:cubicBezTo>
                  <a:cubicBezTo>
                    <a:pt x="142" y="128"/>
                    <a:pt x="140" y="127"/>
                    <a:pt x="138" y="127"/>
                  </a:cubicBezTo>
                  <a:cubicBezTo>
                    <a:pt x="41" y="97"/>
                    <a:pt x="29" y="51"/>
                    <a:pt x="30" y="14"/>
                  </a:cubicBezTo>
                  <a:cubicBezTo>
                    <a:pt x="30" y="7"/>
                    <a:pt x="24" y="0"/>
                    <a:pt x="16" y="0"/>
                  </a:cubicBezTo>
                  <a:cubicBezTo>
                    <a:pt x="8" y="0"/>
                    <a:pt x="1" y="6"/>
                    <a:pt x="1" y="14"/>
                  </a:cubicBezTo>
                  <a:cubicBezTo>
                    <a:pt x="0" y="74"/>
                    <a:pt x="34" y="118"/>
                    <a:pt x="104" y="145"/>
                  </a:cubicBezTo>
                  <a:cubicBezTo>
                    <a:pt x="6" y="194"/>
                    <a:pt x="1" y="266"/>
                    <a:pt x="1" y="270"/>
                  </a:cubicBezTo>
                  <a:cubicBezTo>
                    <a:pt x="1" y="272"/>
                    <a:pt x="2" y="274"/>
                    <a:pt x="2" y="275"/>
                  </a:cubicBezTo>
                  <a:cubicBezTo>
                    <a:pt x="2" y="277"/>
                    <a:pt x="1" y="278"/>
                    <a:pt x="1" y="280"/>
                  </a:cubicBezTo>
                  <a:cubicBezTo>
                    <a:pt x="0" y="341"/>
                    <a:pt x="34" y="384"/>
                    <a:pt x="104" y="411"/>
                  </a:cubicBezTo>
                  <a:cubicBezTo>
                    <a:pt x="6" y="460"/>
                    <a:pt x="1" y="532"/>
                    <a:pt x="1" y="536"/>
                  </a:cubicBezTo>
                  <a:cubicBezTo>
                    <a:pt x="1" y="544"/>
                    <a:pt x="7" y="551"/>
                    <a:pt x="15" y="551"/>
                  </a:cubicBezTo>
                  <a:cubicBezTo>
                    <a:pt x="15" y="551"/>
                    <a:pt x="15" y="551"/>
                    <a:pt x="16" y="551"/>
                  </a:cubicBezTo>
                  <a:cubicBezTo>
                    <a:pt x="23" y="551"/>
                    <a:pt x="30" y="545"/>
                    <a:pt x="30" y="537"/>
                  </a:cubicBezTo>
                  <a:cubicBezTo>
                    <a:pt x="30" y="534"/>
                    <a:pt x="35" y="465"/>
                    <a:pt x="144" y="426"/>
                  </a:cubicBezTo>
                  <a:cubicBezTo>
                    <a:pt x="253" y="465"/>
                    <a:pt x="259" y="534"/>
                    <a:pt x="259" y="537"/>
                  </a:cubicBezTo>
                  <a:cubicBezTo>
                    <a:pt x="259" y="545"/>
                    <a:pt x="266" y="551"/>
                    <a:pt x="273" y="551"/>
                  </a:cubicBezTo>
                  <a:cubicBezTo>
                    <a:pt x="273" y="551"/>
                    <a:pt x="274" y="551"/>
                    <a:pt x="274" y="551"/>
                  </a:cubicBezTo>
                  <a:cubicBezTo>
                    <a:pt x="282" y="551"/>
                    <a:pt x="288" y="544"/>
                    <a:pt x="288" y="536"/>
                  </a:cubicBezTo>
                  <a:cubicBezTo>
                    <a:pt x="288" y="532"/>
                    <a:pt x="283" y="460"/>
                    <a:pt x="185" y="411"/>
                  </a:cubicBezTo>
                  <a:cubicBezTo>
                    <a:pt x="255" y="384"/>
                    <a:pt x="289" y="341"/>
                    <a:pt x="288" y="280"/>
                  </a:cubicBezTo>
                  <a:cubicBezTo>
                    <a:pt x="288" y="278"/>
                    <a:pt x="287" y="277"/>
                    <a:pt x="287" y="275"/>
                  </a:cubicBezTo>
                  <a:cubicBezTo>
                    <a:pt x="287" y="274"/>
                    <a:pt x="288" y="272"/>
                    <a:pt x="288" y="270"/>
                  </a:cubicBezTo>
                  <a:cubicBezTo>
                    <a:pt x="288" y="266"/>
                    <a:pt x="283" y="194"/>
                    <a:pt x="185" y="145"/>
                  </a:cubicBezTo>
                  <a:close/>
                  <a:moveTo>
                    <a:pt x="151" y="393"/>
                  </a:moveTo>
                  <a:cubicBezTo>
                    <a:pt x="149" y="394"/>
                    <a:pt x="147" y="394"/>
                    <a:pt x="144" y="395"/>
                  </a:cubicBezTo>
                  <a:cubicBezTo>
                    <a:pt x="142" y="394"/>
                    <a:pt x="140" y="394"/>
                    <a:pt x="138" y="393"/>
                  </a:cubicBezTo>
                  <a:cubicBezTo>
                    <a:pt x="41" y="363"/>
                    <a:pt x="29" y="317"/>
                    <a:pt x="30" y="281"/>
                  </a:cubicBezTo>
                  <a:cubicBezTo>
                    <a:pt x="30" y="279"/>
                    <a:pt x="30" y="277"/>
                    <a:pt x="29" y="275"/>
                  </a:cubicBezTo>
                  <a:cubicBezTo>
                    <a:pt x="30" y="274"/>
                    <a:pt x="30" y="272"/>
                    <a:pt x="30" y="271"/>
                  </a:cubicBezTo>
                  <a:cubicBezTo>
                    <a:pt x="30" y="270"/>
                    <a:pt x="34" y="200"/>
                    <a:pt x="144" y="159"/>
                  </a:cubicBezTo>
                  <a:cubicBezTo>
                    <a:pt x="253" y="199"/>
                    <a:pt x="259" y="268"/>
                    <a:pt x="259" y="271"/>
                  </a:cubicBezTo>
                  <a:cubicBezTo>
                    <a:pt x="259" y="273"/>
                    <a:pt x="259" y="274"/>
                    <a:pt x="260" y="275"/>
                  </a:cubicBezTo>
                  <a:cubicBezTo>
                    <a:pt x="259" y="277"/>
                    <a:pt x="259" y="279"/>
                    <a:pt x="259" y="281"/>
                  </a:cubicBezTo>
                  <a:cubicBezTo>
                    <a:pt x="260" y="317"/>
                    <a:pt x="248" y="363"/>
                    <a:pt x="151" y="39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1" name="Freeform 12"/>
            <p:cNvSpPr/>
            <p:nvPr/>
          </p:nvSpPr>
          <p:spPr bwMode="auto">
            <a:xfrm>
              <a:off x="4014788" y="1479551"/>
              <a:ext cx="192087" cy="31750"/>
            </a:xfrm>
            <a:custGeom>
              <a:avLst/>
              <a:gdLst>
                <a:gd name="T0" fmla="*/ 14 w 175"/>
                <a:gd name="T1" fmla="*/ 29 h 29"/>
                <a:gd name="T2" fmla="*/ 161 w 175"/>
                <a:gd name="T3" fmla="*/ 29 h 29"/>
                <a:gd name="T4" fmla="*/ 175 w 175"/>
                <a:gd name="T5" fmla="*/ 15 h 29"/>
                <a:gd name="T6" fmla="*/ 161 w 175"/>
                <a:gd name="T7" fmla="*/ 0 h 29"/>
                <a:gd name="T8" fmla="*/ 14 w 175"/>
                <a:gd name="T9" fmla="*/ 0 h 29"/>
                <a:gd name="T10" fmla="*/ 0 w 175"/>
                <a:gd name="T11" fmla="*/ 15 h 29"/>
                <a:gd name="T12" fmla="*/ 14 w 17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4" y="29"/>
                  </a:moveTo>
                  <a:cubicBezTo>
                    <a:pt x="161" y="29"/>
                    <a:pt x="161" y="29"/>
                    <a:pt x="161" y="29"/>
                  </a:cubicBezTo>
                  <a:cubicBezTo>
                    <a:pt x="169" y="29"/>
                    <a:pt x="175" y="23"/>
                    <a:pt x="175" y="15"/>
                  </a:cubicBezTo>
                  <a:cubicBezTo>
                    <a:pt x="175" y="7"/>
                    <a:pt x="169" y="0"/>
                    <a:pt x="161" y="0"/>
                  </a:cubicBezTo>
                  <a:cubicBezTo>
                    <a:pt x="14" y="0"/>
                    <a:pt x="14" y="0"/>
                    <a:pt x="14" y="0"/>
                  </a:cubicBezTo>
                  <a:cubicBezTo>
                    <a:pt x="6" y="0"/>
                    <a:pt x="0" y="7"/>
                    <a:pt x="0" y="15"/>
                  </a:cubicBezTo>
                  <a:cubicBezTo>
                    <a:pt x="0" y="23"/>
                    <a:pt x="6" y="29"/>
                    <a:pt x="14"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2" name="Freeform 13"/>
            <p:cNvSpPr/>
            <p:nvPr/>
          </p:nvSpPr>
          <p:spPr bwMode="auto">
            <a:xfrm>
              <a:off x="4014788" y="1976438"/>
              <a:ext cx="192087" cy="31750"/>
            </a:xfrm>
            <a:custGeom>
              <a:avLst/>
              <a:gdLst>
                <a:gd name="T0" fmla="*/ 161 w 175"/>
                <a:gd name="T1" fmla="*/ 0 h 28"/>
                <a:gd name="T2" fmla="*/ 14 w 175"/>
                <a:gd name="T3" fmla="*/ 0 h 28"/>
                <a:gd name="T4" fmla="*/ 0 w 175"/>
                <a:gd name="T5" fmla="*/ 14 h 28"/>
                <a:gd name="T6" fmla="*/ 14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4" y="0"/>
                    <a:pt x="14" y="0"/>
                    <a:pt x="14" y="0"/>
                  </a:cubicBezTo>
                  <a:cubicBezTo>
                    <a:pt x="6" y="0"/>
                    <a:pt x="0" y="6"/>
                    <a:pt x="0" y="14"/>
                  </a:cubicBezTo>
                  <a:cubicBezTo>
                    <a:pt x="0" y="22"/>
                    <a:pt x="6" y="28"/>
                    <a:pt x="14" y="28"/>
                  </a:cubicBezTo>
                  <a:cubicBezTo>
                    <a:pt x="161" y="28"/>
                    <a:pt x="161" y="28"/>
                    <a:pt x="161" y="28"/>
                  </a:cubicBezTo>
                  <a:cubicBezTo>
                    <a:pt x="169" y="28"/>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3" name="Freeform 14"/>
            <p:cNvSpPr/>
            <p:nvPr/>
          </p:nvSpPr>
          <p:spPr bwMode="auto">
            <a:xfrm>
              <a:off x="4014788" y="1679576"/>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7"/>
                    <a:pt x="0" y="14"/>
                  </a:cubicBezTo>
                  <a:cubicBezTo>
                    <a:pt x="0" y="22"/>
                    <a:pt x="6" y="29"/>
                    <a:pt x="14" y="29"/>
                  </a:cubicBezTo>
                  <a:cubicBezTo>
                    <a:pt x="161" y="29"/>
                    <a:pt x="161" y="29"/>
                    <a:pt x="161" y="29"/>
                  </a:cubicBezTo>
                  <a:cubicBezTo>
                    <a:pt x="169" y="29"/>
                    <a:pt x="175" y="22"/>
                    <a:pt x="175" y="14"/>
                  </a:cubicBezTo>
                  <a:cubicBezTo>
                    <a:pt x="175" y="7"/>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4" name="Freeform 15"/>
            <p:cNvSpPr/>
            <p:nvPr/>
          </p:nvSpPr>
          <p:spPr bwMode="auto">
            <a:xfrm>
              <a:off x="4014788" y="1766888"/>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6"/>
                    <a:pt x="0" y="14"/>
                  </a:cubicBezTo>
                  <a:cubicBezTo>
                    <a:pt x="0" y="22"/>
                    <a:pt x="6" y="29"/>
                    <a:pt x="14" y="29"/>
                  </a:cubicBezTo>
                  <a:cubicBezTo>
                    <a:pt x="161" y="29"/>
                    <a:pt x="161" y="29"/>
                    <a:pt x="161" y="29"/>
                  </a:cubicBezTo>
                  <a:cubicBezTo>
                    <a:pt x="169" y="29"/>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grpSp>
      <p:grpSp>
        <p:nvGrpSpPr>
          <p:cNvPr id="145" name="Group 144"/>
          <p:cNvGrpSpPr/>
          <p:nvPr/>
        </p:nvGrpSpPr>
        <p:grpSpPr>
          <a:xfrm>
            <a:off x="5119367" y="1889592"/>
            <a:ext cx="429387" cy="782631"/>
            <a:chOff x="3952875" y="1435101"/>
            <a:chExt cx="317500" cy="608013"/>
          </a:xfrm>
          <a:solidFill>
            <a:srgbClr val="0093D0"/>
          </a:solidFill>
        </p:grpSpPr>
        <p:sp>
          <p:nvSpPr>
            <p:cNvPr id="146" name="Freeform 11"/>
            <p:cNvSpPr>
              <a:spLocks noEditPoints="1"/>
            </p:cNvSpPr>
            <p:nvPr/>
          </p:nvSpPr>
          <p:spPr bwMode="auto">
            <a:xfrm>
              <a:off x="3952875" y="1435101"/>
              <a:ext cx="317500" cy="608013"/>
            </a:xfrm>
            <a:custGeom>
              <a:avLst/>
              <a:gdLst>
                <a:gd name="T0" fmla="*/ 185 w 289"/>
                <a:gd name="T1" fmla="*/ 145 h 551"/>
                <a:gd name="T2" fmla="*/ 288 w 289"/>
                <a:gd name="T3" fmla="*/ 14 h 551"/>
                <a:gd name="T4" fmla="*/ 273 w 289"/>
                <a:gd name="T5" fmla="*/ 0 h 551"/>
                <a:gd name="T6" fmla="*/ 259 w 289"/>
                <a:gd name="T7" fmla="*/ 14 h 551"/>
                <a:gd name="T8" fmla="*/ 151 w 289"/>
                <a:gd name="T9" fmla="*/ 127 h 551"/>
                <a:gd name="T10" fmla="*/ 144 w 289"/>
                <a:gd name="T11" fmla="*/ 129 h 551"/>
                <a:gd name="T12" fmla="*/ 138 w 289"/>
                <a:gd name="T13" fmla="*/ 127 h 551"/>
                <a:gd name="T14" fmla="*/ 30 w 289"/>
                <a:gd name="T15" fmla="*/ 14 h 551"/>
                <a:gd name="T16" fmla="*/ 16 w 289"/>
                <a:gd name="T17" fmla="*/ 0 h 551"/>
                <a:gd name="T18" fmla="*/ 1 w 289"/>
                <a:gd name="T19" fmla="*/ 14 h 551"/>
                <a:gd name="T20" fmla="*/ 104 w 289"/>
                <a:gd name="T21" fmla="*/ 145 h 551"/>
                <a:gd name="T22" fmla="*/ 1 w 289"/>
                <a:gd name="T23" fmla="*/ 270 h 551"/>
                <a:gd name="T24" fmla="*/ 2 w 289"/>
                <a:gd name="T25" fmla="*/ 275 h 551"/>
                <a:gd name="T26" fmla="*/ 1 w 289"/>
                <a:gd name="T27" fmla="*/ 280 h 551"/>
                <a:gd name="T28" fmla="*/ 104 w 289"/>
                <a:gd name="T29" fmla="*/ 411 h 551"/>
                <a:gd name="T30" fmla="*/ 1 w 289"/>
                <a:gd name="T31" fmla="*/ 536 h 551"/>
                <a:gd name="T32" fmla="*/ 15 w 289"/>
                <a:gd name="T33" fmla="*/ 551 h 551"/>
                <a:gd name="T34" fmla="*/ 16 w 289"/>
                <a:gd name="T35" fmla="*/ 551 h 551"/>
                <a:gd name="T36" fmla="*/ 30 w 289"/>
                <a:gd name="T37" fmla="*/ 537 h 551"/>
                <a:gd name="T38" fmla="*/ 144 w 289"/>
                <a:gd name="T39" fmla="*/ 426 h 551"/>
                <a:gd name="T40" fmla="*/ 259 w 289"/>
                <a:gd name="T41" fmla="*/ 537 h 551"/>
                <a:gd name="T42" fmla="*/ 273 w 289"/>
                <a:gd name="T43" fmla="*/ 551 h 551"/>
                <a:gd name="T44" fmla="*/ 274 w 289"/>
                <a:gd name="T45" fmla="*/ 551 h 551"/>
                <a:gd name="T46" fmla="*/ 288 w 289"/>
                <a:gd name="T47" fmla="*/ 536 h 551"/>
                <a:gd name="T48" fmla="*/ 185 w 289"/>
                <a:gd name="T49" fmla="*/ 411 h 551"/>
                <a:gd name="T50" fmla="*/ 288 w 289"/>
                <a:gd name="T51" fmla="*/ 280 h 551"/>
                <a:gd name="T52" fmla="*/ 287 w 289"/>
                <a:gd name="T53" fmla="*/ 275 h 551"/>
                <a:gd name="T54" fmla="*/ 288 w 289"/>
                <a:gd name="T55" fmla="*/ 270 h 551"/>
                <a:gd name="T56" fmla="*/ 185 w 289"/>
                <a:gd name="T57" fmla="*/ 145 h 551"/>
                <a:gd name="T58" fmla="*/ 151 w 289"/>
                <a:gd name="T59" fmla="*/ 393 h 551"/>
                <a:gd name="T60" fmla="*/ 144 w 289"/>
                <a:gd name="T61" fmla="*/ 395 h 551"/>
                <a:gd name="T62" fmla="*/ 138 w 289"/>
                <a:gd name="T63" fmla="*/ 393 h 551"/>
                <a:gd name="T64" fmla="*/ 30 w 289"/>
                <a:gd name="T65" fmla="*/ 281 h 551"/>
                <a:gd name="T66" fmla="*/ 29 w 289"/>
                <a:gd name="T67" fmla="*/ 275 h 551"/>
                <a:gd name="T68" fmla="*/ 30 w 289"/>
                <a:gd name="T69" fmla="*/ 271 h 551"/>
                <a:gd name="T70" fmla="*/ 144 w 289"/>
                <a:gd name="T71" fmla="*/ 159 h 551"/>
                <a:gd name="T72" fmla="*/ 259 w 289"/>
                <a:gd name="T73" fmla="*/ 271 h 551"/>
                <a:gd name="T74" fmla="*/ 260 w 289"/>
                <a:gd name="T75" fmla="*/ 275 h 551"/>
                <a:gd name="T76" fmla="*/ 259 w 289"/>
                <a:gd name="T77" fmla="*/ 281 h 551"/>
                <a:gd name="T78" fmla="*/ 151 w 289"/>
                <a:gd name="T79" fmla="*/ 3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9" h="551">
                  <a:moveTo>
                    <a:pt x="185" y="145"/>
                  </a:moveTo>
                  <a:cubicBezTo>
                    <a:pt x="255" y="118"/>
                    <a:pt x="289" y="74"/>
                    <a:pt x="288" y="14"/>
                  </a:cubicBezTo>
                  <a:cubicBezTo>
                    <a:pt x="288" y="6"/>
                    <a:pt x="281" y="0"/>
                    <a:pt x="273" y="0"/>
                  </a:cubicBezTo>
                  <a:cubicBezTo>
                    <a:pt x="265" y="0"/>
                    <a:pt x="259" y="7"/>
                    <a:pt x="259" y="14"/>
                  </a:cubicBezTo>
                  <a:cubicBezTo>
                    <a:pt x="260" y="51"/>
                    <a:pt x="248" y="97"/>
                    <a:pt x="151" y="127"/>
                  </a:cubicBezTo>
                  <a:cubicBezTo>
                    <a:pt x="149" y="127"/>
                    <a:pt x="147" y="128"/>
                    <a:pt x="144" y="129"/>
                  </a:cubicBezTo>
                  <a:cubicBezTo>
                    <a:pt x="142" y="128"/>
                    <a:pt x="140" y="127"/>
                    <a:pt x="138" y="127"/>
                  </a:cubicBezTo>
                  <a:cubicBezTo>
                    <a:pt x="41" y="97"/>
                    <a:pt x="29" y="51"/>
                    <a:pt x="30" y="14"/>
                  </a:cubicBezTo>
                  <a:cubicBezTo>
                    <a:pt x="30" y="7"/>
                    <a:pt x="24" y="0"/>
                    <a:pt x="16" y="0"/>
                  </a:cubicBezTo>
                  <a:cubicBezTo>
                    <a:pt x="8" y="0"/>
                    <a:pt x="1" y="6"/>
                    <a:pt x="1" y="14"/>
                  </a:cubicBezTo>
                  <a:cubicBezTo>
                    <a:pt x="0" y="74"/>
                    <a:pt x="34" y="118"/>
                    <a:pt x="104" y="145"/>
                  </a:cubicBezTo>
                  <a:cubicBezTo>
                    <a:pt x="6" y="194"/>
                    <a:pt x="1" y="266"/>
                    <a:pt x="1" y="270"/>
                  </a:cubicBezTo>
                  <a:cubicBezTo>
                    <a:pt x="1" y="272"/>
                    <a:pt x="2" y="274"/>
                    <a:pt x="2" y="275"/>
                  </a:cubicBezTo>
                  <a:cubicBezTo>
                    <a:pt x="2" y="277"/>
                    <a:pt x="1" y="278"/>
                    <a:pt x="1" y="280"/>
                  </a:cubicBezTo>
                  <a:cubicBezTo>
                    <a:pt x="0" y="341"/>
                    <a:pt x="34" y="384"/>
                    <a:pt x="104" y="411"/>
                  </a:cubicBezTo>
                  <a:cubicBezTo>
                    <a:pt x="6" y="460"/>
                    <a:pt x="1" y="532"/>
                    <a:pt x="1" y="536"/>
                  </a:cubicBezTo>
                  <a:cubicBezTo>
                    <a:pt x="1" y="544"/>
                    <a:pt x="7" y="551"/>
                    <a:pt x="15" y="551"/>
                  </a:cubicBezTo>
                  <a:cubicBezTo>
                    <a:pt x="15" y="551"/>
                    <a:pt x="15" y="551"/>
                    <a:pt x="16" y="551"/>
                  </a:cubicBezTo>
                  <a:cubicBezTo>
                    <a:pt x="23" y="551"/>
                    <a:pt x="30" y="545"/>
                    <a:pt x="30" y="537"/>
                  </a:cubicBezTo>
                  <a:cubicBezTo>
                    <a:pt x="30" y="534"/>
                    <a:pt x="35" y="465"/>
                    <a:pt x="144" y="426"/>
                  </a:cubicBezTo>
                  <a:cubicBezTo>
                    <a:pt x="253" y="465"/>
                    <a:pt x="259" y="534"/>
                    <a:pt x="259" y="537"/>
                  </a:cubicBezTo>
                  <a:cubicBezTo>
                    <a:pt x="259" y="545"/>
                    <a:pt x="266" y="551"/>
                    <a:pt x="273" y="551"/>
                  </a:cubicBezTo>
                  <a:cubicBezTo>
                    <a:pt x="273" y="551"/>
                    <a:pt x="274" y="551"/>
                    <a:pt x="274" y="551"/>
                  </a:cubicBezTo>
                  <a:cubicBezTo>
                    <a:pt x="282" y="551"/>
                    <a:pt x="288" y="544"/>
                    <a:pt x="288" y="536"/>
                  </a:cubicBezTo>
                  <a:cubicBezTo>
                    <a:pt x="288" y="532"/>
                    <a:pt x="283" y="460"/>
                    <a:pt x="185" y="411"/>
                  </a:cubicBezTo>
                  <a:cubicBezTo>
                    <a:pt x="255" y="384"/>
                    <a:pt x="289" y="341"/>
                    <a:pt x="288" y="280"/>
                  </a:cubicBezTo>
                  <a:cubicBezTo>
                    <a:pt x="288" y="278"/>
                    <a:pt x="287" y="277"/>
                    <a:pt x="287" y="275"/>
                  </a:cubicBezTo>
                  <a:cubicBezTo>
                    <a:pt x="287" y="274"/>
                    <a:pt x="288" y="272"/>
                    <a:pt x="288" y="270"/>
                  </a:cubicBezTo>
                  <a:cubicBezTo>
                    <a:pt x="288" y="266"/>
                    <a:pt x="283" y="194"/>
                    <a:pt x="185" y="145"/>
                  </a:cubicBezTo>
                  <a:close/>
                  <a:moveTo>
                    <a:pt x="151" y="393"/>
                  </a:moveTo>
                  <a:cubicBezTo>
                    <a:pt x="149" y="394"/>
                    <a:pt x="147" y="394"/>
                    <a:pt x="144" y="395"/>
                  </a:cubicBezTo>
                  <a:cubicBezTo>
                    <a:pt x="142" y="394"/>
                    <a:pt x="140" y="394"/>
                    <a:pt x="138" y="393"/>
                  </a:cubicBezTo>
                  <a:cubicBezTo>
                    <a:pt x="41" y="363"/>
                    <a:pt x="29" y="317"/>
                    <a:pt x="30" y="281"/>
                  </a:cubicBezTo>
                  <a:cubicBezTo>
                    <a:pt x="30" y="279"/>
                    <a:pt x="30" y="277"/>
                    <a:pt x="29" y="275"/>
                  </a:cubicBezTo>
                  <a:cubicBezTo>
                    <a:pt x="30" y="274"/>
                    <a:pt x="30" y="272"/>
                    <a:pt x="30" y="271"/>
                  </a:cubicBezTo>
                  <a:cubicBezTo>
                    <a:pt x="30" y="270"/>
                    <a:pt x="34" y="200"/>
                    <a:pt x="144" y="159"/>
                  </a:cubicBezTo>
                  <a:cubicBezTo>
                    <a:pt x="253" y="199"/>
                    <a:pt x="259" y="268"/>
                    <a:pt x="259" y="271"/>
                  </a:cubicBezTo>
                  <a:cubicBezTo>
                    <a:pt x="259" y="273"/>
                    <a:pt x="259" y="274"/>
                    <a:pt x="260" y="275"/>
                  </a:cubicBezTo>
                  <a:cubicBezTo>
                    <a:pt x="259" y="277"/>
                    <a:pt x="259" y="279"/>
                    <a:pt x="259" y="281"/>
                  </a:cubicBezTo>
                  <a:cubicBezTo>
                    <a:pt x="260" y="317"/>
                    <a:pt x="248" y="363"/>
                    <a:pt x="151" y="39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7" name="Freeform 12"/>
            <p:cNvSpPr/>
            <p:nvPr/>
          </p:nvSpPr>
          <p:spPr bwMode="auto">
            <a:xfrm>
              <a:off x="4014788" y="1479551"/>
              <a:ext cx="192087" cy="31750"/>
            </a:xfrm>
            <a:custGeom>
              <a:avLst/>
              <a:gdLst>
                <a:gd name="T0" fmla="*/ 14 w 175"/>
                <a:gd name="T1" fmla="*/ 29 h 29"/>
                <a:gd name="T2" fmla="*/ 161 w 175"/>
                <a:gd name="T3" fmla="*/ 29 h 29"/>
                <a:gd name="T4" fmla="*/ 175 w 175"/>
                <a:gd name="T5" fmla="*/ 15 h 29"/>
                <a:gd name="T6" fmla="*/ 161 w 175"/>
                <a:gd name="T7" fmla="*/ 0 h 29"/>
                <a:gd name="T8" fmla="*/ 14 w 175"/>
                <a:gd name="T9" fmla="*/ 0 h 29"/>
                <a:gd name="T10" fmla="*/ 0 w 175"/>
                <a:gd name="T11" fmla="*/ 15 h 29"/>
                <a:gd name="T12" fmla="*/ 14 w 17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4" y="29"/>
                  </a:moveTo>
                  <a:cubicBezTo>
                    <a:pt x="161" y="29"/>
                    <a:pt x="161" y="29"/>
                    <a:pt x="161" y="29"/>
                  </a:cubicBezTo>
                  <a:cubicBezTo>
                    <a:pt x="169" y="29"/>
                    <a:pt x="175" y="23"/>
                    <a:pt x="175" y="15"/>
                  </a:cubicBezTo>
                  <a:cubicBezTo>
                    <a:pt x="175" y="7"/>
                    <a:pt x="169" y="0"/>
                    <a:pt x="161" y="0"/>
                  </a:cubicBezTo>
                  <a:cubicBezTo>
                    <a:pt x="14" y="0"/>
                    <a:pt x="14" y="0"/>
                    <a:pt x="14" y="0"/>
                  </a:cubicBezTo>
                  <a:cubicBezTo>
                    <a:pt x="6" y="0"/>
                    <a:pt x="0" y="7"/>
                    <a:pt x="0" y="15"/>
                  </a:cubicBezTo>
                  <a:cubicBezTo>
                    <a:pt x="0" y="23"/>
                    <a:pt x="6" y="29"/>
                    <a:pt x="14"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8" name="Freeform 13"/>
            <p:cNvSpPr/>
            <p:nvPr/>
          </p:nvSpPr>
          <p:spPr bwMode="auto">
            <a:xfrm>
              <a:off x="4014788" y="1976438"/>
              <a:ext cx="192087" cy="31750"/>
            </a:xfrm>
            <a:custGeom>
              <a:avLst/>
              <a:gdLst>
                <a:gd name="T0" fmla="*/ 161 w 175"/>
                <a:gd name="T1" fmla="*/ 0 h 28"/>
                <a:gd name="T2" fmla="*/ 14 w 175"/>
                <a:gd name="T3" fmla="*/ 0 h 28"/>
                <a:gd name="T4" fmla="*/ 0 w 175"/>
                <a:gd name="T5" fmla="*/ 14 h 28"/>
                <a:gd name="T6" fmla="*/ 14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4" y="0"/>
                    <a:pt x="14" y="0"/>
                    <a:pt x="14" y="0"/>
                  </a:cubicBezTo>
                  <a:cubicBezTo>
                    <a:pt x="6" y="0"/>
                    <a:pt x="0" y="6"/>
                    <a:pt x="0" y="14"/>
                  </a:cubicBezTo>
                  <a:cubicBezTo>
                    <a:pt x="0" y="22"/>
                    <a:pt x="6" y="28"/>
                    <a:pt x="14" y="28"/>
                  </a:cubicBezTo>
                  <a:cubicBezTo>
                    <a:pt x="161" y="28"/>
                    <a:pt x="161" y="28"/>
                    <a:pt x="161" y="28"/>
                  </a:cubicBezTo>
                  <a:cubicBezTo>
                    <a:pt x="169" y="28"/>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49" name="Freeform 14"/>
            <p:cNvSpPr/>
            <p:nvPr/>
          </p:nvSpPr>
          <p:spPr bwMode="auto">
            <a:xfrm>
              <a:off x="4014788" y="1679576"/>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7"/>
                    <a:pt x="0" y="14"/>
                  </a:cubicBezTo>
                  <a:cubicBezTo>
                    <a:pt x="0" y="22"/>
                    <a:pt x="6" y="29"/>
                    <a:pt x="14" y="29"/>
                  </a:cubicBezTo>
                  <a:cubicBezTo>
                    <a:pt x="161" y="29"/>
                    <a:pt x="161" y="29"/>
                    <a:pt x="161" y="29"/>
                  </a:cubicBezTo>
                  <a:cubicBezTo>
                    <a:pt x="169" y="29"/>
                    <a:pt x="175" y="22"/>
                    <a:pt x="175" y="14"/>
                  </a:cubicBezTo>
                  <a:cubicBezTo>
                    <a:pt x="175" y="7"/>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50" name="Freeform 15"/>
            <p:cNvSpPr/>
            <p:nvPr/>
          </p:nvSpPr>
          <p:spPr bwMode="auto">
            <a:xfrm>
              <a:off x="4014788" y="1766888"/>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6"/>
                    <a:pt x="0" y="14"/>
                  </a:cubicBezTo>
                  <a:cubicBezTo>
                    <a:pt x="0" y="22"/>
                    <a:pt x="6" y="29"/>
                    <a:pt x="14" y="29"/>
                  </a:cubicBezTo>
                  <a:cubicBezTo>
                    <a:pt x="161" y="29"/>
                    <a:pt x="161" y="29"/>
                    <a:pt x="161" y="29"/>
                  </a:cubicBezTo>
                  <a:cubicBezTo>
                    <a:pt x="169" y="29"/>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grpSp>
      <p:grpSp>
        <p:nvGrpSpPr>
          <p:cNvPr id="157" name="Group 156"/>
          <p:cNvGrpSpPr/>
          <p:nvPr/>
        </p:nvGrpSpPr>
        <p:grpSpPr>
          <a:xfrm>
            <a:off x="7462421" y="2015550"/>
            <a:ext cx="315443" cy="641065"/>
            <a:chOff x="3952875" y="1435101"/>
            <a:chExt cx="317500" cy="608013"/>
          </a:xfrm>
          <a:solidFill>
            <a:srgbClr val="ED174F"/>
          </a:solidFill>
        </p:grpSpPr>
        <p:sp>
          <p:nvSpPr>
            <p:cNvPr id="158" name="Freeform 11"/>
            <p:cNvSpPr>
              <a:spLocks noEditPoints="1"/>
            </p:cNvSpPr>
            <p:nvPr/>
          </p:nvSpPr>
          <p:spPr bwMode="auto">
            <a:xfrm>
              <a:off x="3952875" y="1435101"/>
              <a:ext cx="317500" cy="608013"/>
            </a:xfrm>
            <a:custGeom>
              <a:avLst/>
              <a:gdLst>
                <a:gd name="T0" fmla="*/ 185 w 289"/>
                <a:gd name="T1" fmla="*/ 145 h 551"/>
                <a:gd name="T2" fmla="*/ 288 w 289"/>
                <a:gd name="T3" fmla="*/ 14 h 551"/>
                <a:gd name="T4" fmla="*/ 273 w 289"/>
                <a:gd name="T5" fmla="*/ 0 h 551"/>
                <a:gd name="T6" fmla="*/ 259 w 289"/>
                <a:gd name="T7" fmla="*/ 14 h 551"/>
                <a:gd name="T8" fmla="*/ 151 w 289"/>
                <a:gd name="T9" fmla="*/ 127 h 551"/>
                <a:gd name="T10" fmla="*/ 144 w 289"/>
                <a:gd name="T11" fmla="*/ 129 h 551"/>
                <a:gd name="T12" fmla="*/ 138 w 289"/>
                <a:gd name="T13" fmla="*/ 127 h 551"/>
                <a:gd name="T14" fmla="*/ 30 w 289"/>
                <a:gd name="T15" fmla="*/ 14 h 551"/>
                <a:gd name="T16" fmla="*/ 16 w 289"/>
                <a:gd name="T17" fmla="*/ 0 h 551"/>
                <a:gd name="T18" fmla="*/ 1 w 289"/>
                <a:gd name="T19" fmla="*/ 14 h 551"/>
                <a:gd name="T20" fmla="*/ 104 w 289"/>
                <a:gd name="T21" fmla="*/ 145 h 551"/>
                <a:gd name="T22" fmla="*/ 1 w 289"/>
                <a:gd name="T23" fmla="*/ 270 h 551"/>
                <a:gd name="T24" fmla="*/ 2 w 289"/>
                <a:gd name="T25" fmla="*/ 275 h 551"/>
                <a:gd name="T26" fmla="*/ 1 w 289"/>
                <a:gd name="T27" fmla="*/ 280 h 551"/>
                <a:gd name="T28" fmla="*/ 104 w 289"/>
                <a:gd name="T29" fmla="*/ 411 h 551"/>
                <a:gd name="T30" fmla="*/ 1 w 289"/>
                <a:gd name="T31" fmla="*/ 536 h 551"/>
                <a:gd name="T32" fmla="*/ 15 w 289"/>
                <a:gd name="T33" fmla="*/ 551 h 551"/>
                <a:gd name="T34" fmla="*/ 16 w 289"/>
                <a:gd name="T35" fmla="*/ 551 h 551"/>
                <a:gd name="T36" fmla="*/ 30 w 289"/>
                <a:gd name="T37" fmla="*/ 537 h 551"/>
                <a:gd name="T38" fmla="*/ 144 w 289"/>
                <a:gd name="T39" fmla="*/ 426 h 551"/>
                <a:gd name="T40" fmla="*/ 259 w 289"/>
                <a:gd name="T41" fmla="*/ 537 h 551"/>
                <a:gd name="T42" fmla="*/ 273 w 289"/>
                <a:gd name="T43" fmla="*/ 551 h 551"/>
                <a:gd name="T44" fmla="*/ 274 w 289"/>
                <a:gd name="T45" fmla="*/ 551 h 551"/>
                <a:gd name="T46" fmla="*/ 288 w 289"/>
                <a:gd name="T47" fmla="*/ 536 h 551"/>
                <a:gd name="T48" fmla="*/ 185 w 289"/>
                <a:gd name="T49" fmla="*/ 411 h 551"/>
                <a:gd name="T50" fmla="*/ 288 w 289"/>
                <a:gd name="T51" fmla="*/ 280 h 551"/>
                <a:gd name="T52" fmla="*/ 287 w 289"/>
                <a:gd name="T53" fmla="*/ 275 h 551"/>
                <a:gd name="T54" fmla="*/ 288 w 289"/>
                <a:gd name="T55" fmla="*/ 270 h 551"/>
                <a:gd name="T56" fmla="*/ 185 w 289"/>
                <a:gd name="T57" fmla="*/ 145 h 551"/>
                <a:gd name="T58" fmla="*/ 151 w 289"/>
                <a:gd name="T59" fmla="*/ 393 h 551"/>
                <a:gd name="T60" fmla="*/ 144 w 289"/>
                <a:gd name="T61" fmla="*/ 395 h 551"/>
                <a:gd name="T62" fmla="*/ 138 w 289"/>
                <a:gd name="T63" fmla="*/ 393 h 551"/>
                <a:gd name="T64" fmla="*/ 30 w 289"/>
                <a:gd name="T65" fmla="*/ 281 h 551"/>
                <a:gd name="T66" fmla="*/ 29 w 289"/>
                <a:gd name="T67" fmla="*/ 275 h 551"/>
                <a:gd name="T68" fmla="*/ 30 w 289"/>
                <a:gd name="T69" fmla="*/ 271 h 551"/>
                <a:gd name="T70" fmla="*/ 144 w 289"/>
                <a:gd name="T71" fmla="*/ 159 h 551"/>
                <a:gd name="T72" fmla="*/ 259 w 289"/>
                <a:gd name="T73" fmla="*/ 271 h 551"/>
                <a:gd name="T74" fmla="*/ 260 w 289"/>
                <a:gd name="T75" fmla="*/ 275 h 551"/>
                <a:gd name="T76" fmla="*/ 259 w 289"/>
                <a:gd name="T77" fmla="*/ 281 h 551"/>
                <a:gd name="T78" fmla="*/ 151 w 289"/>
                <a:gd name="T79" fmla="*/ 3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9" h="551">
                  <a:moveTo>
                    <a:pt x="185" y="145"/>
                  </a:moveTo>
                  <a:cubicBezTo>
                    <a:pt x="255" y="118"/>
                    <a:pt x="289" y="74"/>
                    <a:pt x="288" y="14"/>
                  </a:cubicBezTo>
                  <a:cubicBezTo>
                    <a:pt x="288" y="6"/>
                    <a:pt x="281" y="0"/>
                    <a:pt x="273" y="0"/>
                  </a:cubicBezTo>
                  <a:cubicBezTo>
                    <a:pt x="265" y="0"/>
                    <a:pt x="259" y="7"/>
                    <a:pt x="259" y="14"/>
                  </a:cubicBezTo>
                  <a:cubicBezTo>
                    <a:pt x="260" y="51"/>
                    <a:pt x="248" y="97"/>
                    <a:pt x="151" y="127"/>
                  </a:cubicBezTo>
                  <a:cubicBezTo>
                    <a:pt x="149" y="127"/>
                    <a:pt x="147" y="128"/>
                    <a:pt x="144" y="129"/>
                  </a:cubicBezTo>
                  <a:cubicBezTo>
                    <a:pt x="142" y="128"/>
                    <a:pt x="140" y="127"/>
                    <a:pt x="138" y="127"/>
                  </a:cubicBezTo>
                  <a:cubicBezTo>
                    <a:pt x="41" y="97"/>
                    <a:pt x="29" y="51"/>
                    <a:pt x="30" y="14"/>
                  </a:cubicBezTo>
                  <a:cubicBezTo>
                    <a:pt x="30" y="7"/>
                    <a:pt x="24" y="0"/>
                    <a:pt x="16" y="0"/>
                  </a:cubicBezTo>
                  <a:cubicBezTo>
                    <a:pt x="8" y="0"/>
                    <a:pt x="1" y="6"/>
                    <a:pt x="1" y="14"/>
                  </a:cubicBezTo>
                  <a:cubicBezTo>
                    <a:pt x="0" y="74"/>
                    <a:pt x="34" y="118"/>
                    <a:pt x="104" y="145"/>
                  </a:cubicBezTo>
                  <a:cubicBezTo>
                    <a:pt x="6" y="194"/>
                    <a:pt x="1" y="266"/>
                    <a:pt x="1" y="270"/>
                  </a:cubicBezTo>
                  <a:cubicBezTo>
                    <a:pt x="1" y="272"/>
                    <a:pt x="2" y="274"/>
                    <a:pt x="2" y="275"/>
                  </a:cubicBezTo>
                  <a:cubicBezTo>
                    <a:pt x="2" y="277"/>
                    <a:pt x="1" y="278"/>
                    <a:pt x="1" y="280"/>
                  </a:cubicBezTo>
                  <a:cubicBezTo>
                    <a:pt x="0" y="341"/>
                    <a:pt x="34" y="384"/>
                    <a:pt x="104" y="411"/>
                  </a:cubicBezTo>
                  <a:cubicBezTo>
                    <a:pt x="6" y="460"/>
                    <a:pt x="1" y="532"/>
                    <a:pt x="1" y="536"/>
                  </a:cubicBezTo>
                  <a:cubicBezTo>
                    <a:pt x="1" y="544"/>
                    <a:pt x="7" y="551"/>
                    <a:pt x="15" y="551"/>
                  </a:cubicBezTo>
                  <a:cubicBezTo>
                    <a:pt x="15" y="551"/>
                    <a:pt x="15" y="551"/>
                    <a:pt x="16" y="551"/>
                  </a:cubicBezTo>
                  <a:cubicBezTo>
                    <a:pt x="23" y="551"/>
                    <a:pt x="30" y="545"/>
                    <a:pt x="30" y="537"/>
                  </a:cubicBezTo>
                  <a:cubicBezTo>
                    <a:pt x="30" y="534"/>
                    <a:pt x="35" y="465"/>
                    <a:pt x="144" y="426"/>
                  </a:cubicBezTo>
                  <a:cubicBezTo>
                    <a:pt x="253" y="465"/>
                    <a:pt x="259" y="534"/>
                    <a:pt x="259" y="537"/>
                  </a:cubicBezTo>
                  <a:cubicBezTo>
                    <a:pt x="259" y="545"/>
                    <a:pt x="266" y="551"/>
                    <a:pt x="273" y="551"/>
                  </a:cubicBezTo>
                  <a:cubicBezTo>
                    <a:pt x="273" y="551"/>
                    <a:pt x="274" y="551"/>
                    <a:pt x="274" y="551"/>
                  </a:cubicBezTo>
                  <a:cubicBezTo>
                    <a:pt x="282" y="551"/>
                    <a:pt x="288" y="544"/>
                    <a:pt x="288" y="536"/>
                  </a:cubicBezTo>
                  <a:cubicBezTo>
                    <a:pt x="288" y="532"/>
                    <a:pt x="283" y="460"/>
                    <a:pt x="185" y="411"/>
                  </a:cubicBezTo>
                  <a:cubicBezTo>
                    <a:pt x="255" y="384"/>
                    <a:pt x="289" y="341"/>
                    <a:pt x="288" y="280"/>
                  </a:cubicBezTo>
                  <a:cubicBezTo>
                    <a:pt x="288" y="278"/>
                    <a:pt x="287" y="277"/>
                    <a:pt x="287" y="275"/>
                  </a:cubicBezTo>
                  <a:cubicBezTo>
                    <a:pt x="287" y="274"/>
                    <a:pt x="288" y="272"/>
                    <a:pt x="288" y="270"/>
                  </a:cubicBezTo>
                  <a:cubicBezTo>
                    <a:pt x="288" y="266"/>
                    <a:pt x="283" y="194"/>
                    <a:pt x="185" y="145"/>
                  </a:cubicBezTo>
                  <a:close/>
                  <a:moveTo>
                    <a:pt x="151" y="393"/>
                  </a:moveTo>
                  <a:cubicBezTo>
                    <a:pt x="149" y="394"/>
                    <a:pt x="147" y="394"/>
                    <a:pt x="144" y="395"/>
                  </a:cubicBezTo>
                  <a:cubicBezTo>
                    <a:pt x="142" y="394"/>
                    <a:pt x="140" y="394"/>
                    <a:pt x="138" y="393"/>
                  </a:cubicBezTo>
                  <a:cubicBezTo>
                    <a:pt x="41" y="363"/>
                    <a:pt x="29" y="317"/>
                    <a:pt x="30" y="281"/>
                  </a:cubicBezTo>
                  <a:cubicBezTo>
                    <a:pt x="30" y="279"/>
                    <a:pt x="30" y="277"/>
                    <a:pt x="29" y="275"/>
                  </a:cubicBezTo>
                  <a:cubicBezTo>
                    <a:pt x="30" y="274"/>
                    <a:pt x="30" y="272"/>
                    <a:pt x="30" y="271"/>
                  </a:cubicBezTo>
                  <a:cubicBezTo>
                    <a:pt x="30" y="270"/>
                    <a:pt x="34" y="200"/>
                    <a:pt x="144" y="159"/>
                  </a:cubicBezTo>
                  <a:cubicBezTo>
                    <a:pt x="253" y="199"/>
                    <a:pt x="259" y="268"/>
                    <a:pt x="259" y="271"/>
                  </a:cubicBezTo>
                  <a:cubicBezTo>
                    <a:pt x="259" y="273"/>
                    <a:pt x="259" y="274"/>
                    <a:pt x="260" y="275"/>
                  </a:cubicBezTo>
                  <a:cubicBezTo>
                    <a:pt x="259" y="277"/>
                    <a:pt x="259" y="279"/>
                    <a:pt x="259" y="281"/>
                  </a:cubicBezTo>
                  <a:cubicBezTo>
                    <a:pt x="260" y="317"/>
                    <a:pt x="248" y="363"/>
                    <a:pt x="151" y="39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59" name="Freeform 12"/>
            <p:cNvSpPr/>
            <p:nvPr/>
          </p:nvSpPr>
          <p:spPr bwMode="auto">
            <a:xfrm>
              <a:off x="4014788" y="1479551"/>
              <a:ext cx="192087" cy="31750"/>
            </a:xfrm>
            <a:custGeom>
              <a:avLst/>
              <a:gdLst>
                <a:gd name="T0" fmla="*/ 14 w 175"/>
                <a:gd name="T1" fmla="*/ 29 h 29"/>
                <a:gd name="T2" fmla="*/ 161 w 175"/>
                <a:gd name="T3" fmla="*/ 29 h 29"/>
                <a:gd name="T4" fmla="*/ 175 w 175"/>
                <a:gd name="T5" fmla="*/ 15 h 29"/>
                <a:gd name="T6" fmla="*/ 161 w 175"/>
                <a:gd name="T7" fmla="*/ 0 h 29"/>
                <a:gd name="T8" fmla="*/ 14 w 175"/>
                <a:gd name="T9" fmla="*/ 0 h 29"/>
                <a:gd name="T10" fmla="*/ 0 w 175"/>
                <a:gd name="T11" fmla="*/ 15 h 29"/>
                <a:gd name="T12" fmla="*/ 14 w 17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4" y="29"/>
                  </a:moveTo>
                  <a:cubicBezTo>
                    <a:pt x="161" y="29"/>
                    <a:pt x="161" y="29"/>
                    <a:pt x="161" y="29"/>
                  </a:cubicBezTo>
                  <a:cubicBezTo>
                    <a:pt x="169" y="29"/>
                    <a:pt x="175" y="23"/>
                    <a:pt x="175" y="15"/>
                  </a:cubicBezTo>
                  <a:cubicBezTo>
                    <a:pt x="175" y="7"/>
                    <a:pt x="169" y="0"/>
                    <a:pt x="161" y="0"/>
                  </a:cubicBezTo>
                  <a:cubicBezTo>
                    <a:pt x="14" y="0"/>
                    <a:pt x="14" y="0"/>
                    <a:pt x="14" y="0"/>
                  </a:cubicBezTo>
                  <a:cubicBezTo>
                    <a:pt x="6" y="0"/>
                    <a:pt x="0" y="7"/>
                    <a:pt x="0" y="15"/>
                  </a:cubicBezTo>
                  <a:cubicBezTo>
                    <a:pt x="0" y="23"/>
                    <a:pt x="6" y="29"/>
                    <a:pt x="14"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60" name="Freeform 13"/>
            <p:cNvSpPr/>
            <p:nvPr/>
          </p:nvSpPr>
          <p:spPr bwMode="auto">
            <a:xfrm>
              <a:off x="4014788" y="1976438"/>
              <a:ext cx="192087" cy="31750"/>
            </a:xfrm>
            <a:custGeom>
              <a:avLst/>
              <a:gdLst>
                <a:gd name="T0" fmla="*/ 161 w 175"/>
                <a:gd name="T1" fmla="*/ 0 h 28"/>
                <a:gd name="T2" fmla="*/ 14 w 175"/>
                <a:gd name="T3" fmla="*/ 0 h 28"/>
                <a:gd name="T4" fmla="*/ 0 w 175"/>
                <a:gd name="T5" fmla="*/ 14 h 28"/>
                <a:gd name="T6" fmla="*/ 14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4" y="0"/>
                    <a:pt x="14" y="0"/>
                    <a:pt x="14" y="0"/>
                  </a:cubicBezTo>
                  <a:cubicBezTo>
                    <a:pt x="6" y="0"/>
                    <a:pt x="0" y="6"/>
                    <a:pt x="0" y="14"/>
                  </a:cubicBezTo>
                  <a:cubicBezTo>
                    <a:pt x="0" y="22"/>
                    <a:pt x="6" y="28"/>
                    <a:pt x="14" y="28"/>
                  </a:cubicBezTo>
                  <a:cubicBezTo>
                    <a:pt x="161" y="28"/>
                    <a:pt x="161" y="28"/>
                    <a:pt x="161" y="28"/>
                  </a:cubicBezTo>
                  <a:cubicBezTo>
                    <a:pt x="169" y="28"/>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61" name="Freeform 14"/>
            <p:cNvSpPr/>
            <p:nvPr/>
          </p:nvSpPr>
          <p:spPr bwMode="auto">
            <a:xfrm>
              <a:off x="4014788" y="1679576"/>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7"/>
                    <a:pt x="0" y="14"/>
                  </a:cubicBezTo>
                  <a:cubicBezTo>
                    <a:pt x="0" y="22"/>
                    <a:pt x="6" y="29"/>
                    <a:pt x="14" y="29"/>
                  </a:cubicBezTo>
                  <a:cubicBezTo>
                    <a:pt x="161" y="29"/>
                    <a:pt x="161" y="29"/>
                    <a:pt x="161" y="29"/>
                  </a:cubicBezTo>
                  <a:cubicBezTo>
                    <a:pt x="169" y="29"/>
                    <a:pt x="175" y="22"/>
                    <a:pt x="175" y="14"/>
                  </a:cubicBezTo>
                  <a:cubicBezTo>
                    <a:pt x="175" y="7"/>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sp>
          <p:nvSpPr>
            <p:cNvPr id="162" name="Freeform 15"/>
            <p:cNvSpPr/>
            <p:nvPr/>
          </p:nvSpPr>
          <p:spPr bwMode="auto">
            <a:xfrm>
              <a:off x="4014788" y="1766888"/>
              <a:ext cx="193675" cy="31750"/>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6"/>
                    <a:pt x="0" y="14"/>
                  </a:cubicBezTo>
                  <a:cubicBezTo>
                    <a:pt x="0" y="22"/>
                    <a:pt x="6" y="29"/>
                    <a:pt x="14" y="29"/>
                  </a:cubicBezTo>
                  <a:cubicBezTo>
                    <a:pt x="161" y="29"/>
                    <a:pt x="161" y="29"/>
                    <a:pt x="161" y="29"/>
                  </a:cubicBezTo>
                  <a:cubicBezTo>
                    <a:pt x="169" y="29"/>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41587" tIns="20793" rIns="41587" bIns="20793" numCol="1" anchor="t" anchorCtr="0" compatLnSpc="1"/>
            <a:lstStyle/>
            <a:p>
              <a:endParaRPr lang="en-IE" sz="728" dirty="0">
                <a:solidFill>
                  <a:srgbClr val="000000"/>
                </a:solidFill>
                <a:latin typeface="Arial" panose="020B0604020202020204" pitchFamily="34" charset="0"/>
                <a:cs typeface="Arial" panose="020B0604020202020204" pitchFamily="34" charset="0"/>
              </a:endParaRPr>
            </a:p>
          </p:txBody>
        </p:sp>
      </p:grpSp>
      <p:sp>
        <p:nvSpPr>
          <p:cNvPr id="163" name="TextBox 162"/>
          <p:cNvSpPr txBox="1"/>
          <p:nvPr/>
        </p:nvSpPr>
        <p:spPr>
          <a:xfrm>
            <a:off x="661937" y="1107340"/>
            <a:ext cx="930847" cy="260392"/>
          </a:xfrm>
          <a:prstGeom prst="rect">
            <a:avLst/>
          </a:prstGeom>
          <a:noFill/>
        </p:spPr>
        <p:txBody>
          <a:bodyPr wrap="square" rtlCol="0">
            <a:spAutoFit/>
          </a:bodyPr>
          <a:lstStyle/>
          <a:p>
            <a:pPr algn="ctr"/>
            <a:r>
              <a:rPr lang="zh-CN" altLang="en-US" sz="1092" b="1" dirty="0">
                <a:solidFill>
                  <a:srgbClr val="000000"/>
                </a:solidFill>
                <a:latin typeface="Arial" panose="020B0604020202020204" pitchFamily="34" charset="0"/>
                <a:cs typeface="Arial" panose="020B0604020202020204" pitchFamily="34" charset="0"/>
              </a:rPr>
              <a:t>物理学</a:t>
            </a:r>
            <a:endParaRPr lang="en-GB" sz="1092" b="1" dirty="0">
              <a:solidFill>
                <a:srgbClr val="000000"/>
              </a:solidFill>
              <a:latin typeface="Arial" panose="020B0604020202020204" pitchFamily="34" charset="0"/>
              <a:cs typeface="Arial" panose="020B0604020202020204" pitchFamily="34" charset="0"/>
            </a:endParaRPr>
          </a:p>
        </p:txBody>
      </p:sp>
      <p:sp>
        <p:nvSpPr>
          <p:cNvPr id="164" name="TextBox 163"/>
          <p:cNvSpPr txBox="1"/>
          <p:nvPr/>
        </p:nvSpPr>
        <p:spPr>
          <a:xfrm>
            <a:off x="2388684" y="1097484"/>
            <a:ext cx="1464841" cy="260392"/>
          </a:xfrm>
          <a:prstGeom prst="rect">
            <a:avLst/>
          </a:prstGeom>
          <a:noFill/>
        </p:spPr>
        <p:txBody>
          <a:bodyPr wrap="square" rtlCol="0">
            <a:spAutoFit/>
          </a:bodyPr>
          <a:lstStyle/>
          <a:p>
            <a:pPr algn="ctr"/>
            <a:r>
              <a:rPr lang="zh-CN" altLang="en-US" sz="1092" b="1" dirty="0">
                <a:solidFill>
                  <a:srgbClr val="92D050"/>
                </a:solidFill>
                <a:latin typeface="Arial" panose="020B0604020202020204" pitchFamily="34" charset="0"/>
                <a:cs typeface="Arial" panose="020B0604020202020204" pitchFamily="34" charset="0"/>
              </a:rPr>
              <a:t>电气与电子工程</a:t>
            </a:r>
            <a:endParaRPr lang="en-GB" altLang="en-US" sz="1092" b="1" dirty="0">
              <a:solidFill>
                <a:srgbClr val="92D050"/>
              </a:solidFill>
              <a:latin typeface="Arial" panose="020B0604020202020204" pitchFamily="34" charset="0"/>
              <a:cs typeface="Arial" panose="020B0604020202020204" pitchFamily="34" charset="0"/>
            </a:endParaRPr>
          </a:p>
        </p:txBody>
      </p:sp>
      <p:sp>
        <p:nvSpPr>
          <p:cNvPr id="165" name="TextBox 164"/>
          <p:cNvSpPr txBox="1"/>
          <p:nvPr/>
        </p:nvSpPr>
        <p:spPr>
          <a:xfrm>
            <a:off x="4652154" y="1107340"/>
            <a:ext cx="1271423" cy="428451"/>
          </a:xfrm>
          <a:prstGeom prst="rect">
            <a:avLst/>
          </a:prstGeom>
          <a:noFill/>
        </p:spPr>
        <p:txBody>
          <a:bodyPr wrap="square" rtlCol="0">
            <a:spAutoFit/>
          </a:bodyPr>
          <a:lstStyle/>
          <a:p>
            <a:pPr algn="ctr"/>
            <a:r>
              <a:rPr lang="zh-CN" altLang="en-US" sz="1092" b="1" dirty="0">
                <a:solidFill>
                  <a:srgbClr val="0092CF"/>
                </a:solidFill>
                <a:latin typeface="Arial" panose="020B0604020202020204" pitchFamily="34" charset="0"/>
                <a:cs typeface="Arial" panose="020B0604020202020204" pitchFamily="34" charset="0"/>
              </a:rPr>
              <a:t>计算机与控制工程</a:t>
            </a:r>
            <a:endParaRPr lang="en-GB" altLang="en-US" sz="1092" b="1" dirty="0">
              <a:solidFill>
                <a:srgbClr val="0092CF"/>
              </a:solidFill>
              <a:latin typeface="Arial" panose="020B0604020202020204" pitchFamily="34" charset="0"/>
              <a:cs typeface="Arial" panose="020B0604020202020204" pitchFamily="34" charset="0"/>
            </a:endParaRPr>
          </a:p>
        </p:txBody>
      </p:sp>
      <p:cxnSp>
        <p:nvCxnSpPr>
          <p:cNvPr id="167" name="Straight Connector 166"/>
          <p:cNvCxnSpPr/>
          <p:nvPr/>
        </p:nvCxnSpPr>
        <p:spPr>
          <a:xfrm flipV="1">
            <a:off x="709585" y="3056932"/>
            <a:ext cx="7293341" cy="2585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8" name="Text Box 5"/>
          <p:cNvSpPr txBox="1">
            <a:spLocks noChangeArrowheads="1"/>
          </p:cNvSpPr>
          <p:nvPr/>
        </p:nvSpPr>
        <p:spPr bwMode="auto">
          <a:xfrm>
            <a:off x="780614" y="2779685"/>
            <a:ext cx="808964" cy="372410"/>
          </a:xfrm>
          <a:prstGeom prst="rect">
            <a:avLst/>
          </a:prstGeom>
          <a:noFill/>
          <a:ln>
            <a:noFill/>
          </a:ln>
          <a:effectLst/>
          <a:extLst>
            <a:ext uri="{909E8E84-426E-40DD-AFC4-6F175D3DCCD1}">
              <a14:hiddenFill xmlns:a14="http://schemas.microsoft.com/office/drawing/2010/main">
                <a:solidFill>
                  <a:srgbClr val="40637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lgn="l" eaLnBrk="0" hangingPunct="0">
              <a:spcBef>
                <a:spcPct val="20000"/>
              </a:spcBef>
              <a:buFont typeface="Wingdings" panose="05000000000000000000" pitchFamily="2" charset="2"/>
              <a:buChar char="§"/>
              <a:defRPr sz="3200">
                <a:solidFill>
                  <a:schemeClr val="tx1"/>
                </a:solidFill>
                <a:latin typeface="Arial" panose="020B0604020202020204" pitchFamily="34" charset="0"/>
                <a:ea typeface="MS PGothic" panose="020B0600070205080204" pitchFamily="-112" charset="-128"/>
              </a:defRPr>
            </a:lvl1pPr>
            <a:lvl2pPr marL="742950" indent="-285750" algn="l" eaLnBrk="0" hangingPunct="0">
              <a:spcBef>
                <a:spcPct val="20000"/>
              </a:spcBef>
              <a:buFont typeface="Wingdings" panose="05000000000000000000" pitchFamily="2" charset="2"/>
              <a:buChar char="§"/>
              <a:defRPr sz="2800">
                <a:solidFill>
                  <a:schemeClr val="tx1"/>
                </a:solidFill>
                <a:latin typeface="Arial" panose="020B0604020202020204" pitchFamily="34" charset="0"/>
                <a:ea typeface="MS PGothic" panose="020B0600070205080204" pitchFamily="-112" charset="-128"/>
              </a:defRPr>
            </a:lvl2pPr>
            <a:lvl3pPr marL="1143000" indent="-228600" algn="l" eaLnBrk="0" hangingPunct="0">
              <a:spcBef>
                <a:spcPct val="20000"/>
              </a:spcBef>
              <a:buFont typeface="Wingdings" panose="05000000000000000000" pitchFamily="2" charset="2"/>
              <a:buChar char="§"/>
              <a:defRPr sz="2400">
                <a:solidFill>
                  <a:schemeClr val="tx1"/>
                </a:solidFill>
                <a:latin typeface="Arial" panose="020B0604020202020204" pitchFamily="34" charset="0"/>
                <a:ea typeface="MS PGothic" panose="020B0600070205080204" pitchFamily="-112" charset="-128"/>
              </a:defRPr>
            </a:lvl3pPr>
            <a:lvl4pPr marL="16002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4pPr>
            <a:lvl5pPr marL="20574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9pPr>
          </a:lstStyle>
          <a:p>
            <a:pPr algn="ctr" eaLnBrk="1" hangingPunct="1">
              <a:spcBef>
                <a:spcPct val="0"/>
              </a:spcBef>
              <a:buFontTx/>
              <a:buNone/>
            </a:pPr>
            <a:r>
              <a:rPr lang="en-GB" altLang="en-US" sz="910" b="1" dirty="0">
                <a:solidFill>
                  <a:srgbClr val="000000"/>
                </a:solidFill>
                <a:cs typeface="Arial" panose="020B0604020202020204" pitchFamily="34" charset="0"/>
              </a:rPr>
              <a:t>10 million +</a:t>
            </a:r>
          </a:p>
        </p:txBody>
      </p:sp>
      <p:sp>
        <p:nvSpPr>
          <p:cNvPr id="169" name="Text Box 7"/>
          <p:cNvSpPr txBox="1">
            <a:spLocks noChangeArrowheads="1"/>
          </p:cNvSpPr>
          <p:nvPr/>
        </p:nvSpPr>
        <p:spPr bwMode="auto">
          <a:xfrm>
            <a:off x="4883902" y="2779685"/>
            <a:ext cx="870213" cy="232371"/>
          </a:xfrm>
          <a:prstGeom prst="rect">
            <a:avLst/>
          </a:prstGeom>
          <a:noFill/>
          <a:ln>
            <a:noFill/>
          </a:ln>
          <a:effectLst/>
          <a:extLst>
            <a:ext uri="{909E8E84-426E-40DD-AFC4-6F175D3DCCD1}">
              <a14:hiddenFill xmlns:a14="http://schemas.microsoft.com/office/drawing/2010/main">
                <a:solidFill>
                  <a:srgbClr val="40637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lgn="l" eaLnBrk="0" hangingPunct="0">
              <a:spcBef>
                <a:spcPct val="20000"/>
              </a:spcBef>
              <a:buFont typeface="Wingdings" panose="05000000000000000000" pitchFamily="2" charset="2"/>
              <a:buChar char="§"/>
              <a:defRPr sz="3200">
                <a:solidFill>
                  <a:schemeClr val="tx1"/>
                </a:solidFill>
                <a:latin typeface="Arial" panose="020B0604020202020204" pitchFamily="34" charset="0"/>
                <a:ea typeface="MS PGothic" panose="020B0600070205080204" pitchFamily="-112" charset="-128"/>
              </a:defRPr>
            </a:lvl1pPr>
            <a:lvl2pPr marL="742950" indent="-285750" algn="l" eaLnBrk="0" hangingPunct="0">
              <a:spcBef>
                <a:spcPct val="20000"/>
              </a:spcBef>
              <a:buFont typeface="Wingdings" panose="05000000000000000000" pitchFamily="2" charset="2"/>
              <a:buChar char="§"/>
              <a:defRPr sz="2800">
                <a:solidFill>
                  <a:schemeClr val="tx1"/>
                </a:solidFill>
                <a:latin typeface="Arial" panose="020B0604020202020204" pitchFamily="34" charset="0"/>
                <a:ea typeface="MS PGothic" panose="020B0600070205080204" pitchFamily="-112" charset="-128"/>
              </a:defRPr>
            </a:lvl2pPr>
            <a:lvl3pPr marL="1143000" indent="-228600" algn="l" eaLnBrk="0" hangingPunct="0">
              <a:spcBef>
                <a:spcPct val="20000"/>
              </a:spcBef>
              <a:buFont typeface="Wingdings" panose="05000000000000000000" pitchFamily="2" charset="2"/>
              <a:buChar char="§"/>
              <a:defRPr sz="2400">
                <a:solidFill>
                  <a:schemeClr val="tx1"/>
                </a:solidFill>
                <a:latin typeface="Arial" panose="020B0604020202020204" pitchFamily="34" charset="0"/>
                <a:ea typeface="MS PGothic" panose="020B0600070205080204" pitchFamily="-112" charset="-128"/>
              </a:defRPr>
            </a:lvl3pPr>
            <a:lvl4pPr marL="16002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4pPr>
            <a:lvl5pPr marL="20574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9pPr>
          </a:lstStyle>
          <a:p>
            <a:pPr algn="ctr" eaLnBrk="1" hangingPunct="1">
              <a:spcBef>
                <a:spcPct val="0"/>
              </a:spcBef>
              <a:buFontTx/>
              <a:buNone/>
            </a:pPr>
            <a:r>
              <a:rPr lang="en-GB" altLang="en-US" sz="910" b="1" dirty="0">
                <a:solidFill>
                  <a:srgbClr val="000000"/>
                </a:solidFill>
                <a:ea typeface="Arial" panose="020B0604020202020204" pitchFamily="34" charset="0"/>
                <a:cs typeface="Arial" panose="020B0604020202020204" pitchFamily="34" charset="0"/>
              </a:rPr>
              <a:t>5.5 million</a:t>
            </a:r>
          </a:p>
        </p:txBody>
      </p:sp>
      <p:sp>
        <p:nvSpPr>
          <p:cNvPr id="170" name="Text Box 9"/>
          <p:cNvSpPr txBox="1">
            <a:spLocks noChangeArrowheads="1"/>
          </p:cNvSpPr>
          <p:nvPr/>
        </p:nvSpPr>
        <p:spPr bwMode="auto">
          <a:xfrm>
            <a:off x="2733671" y="2779685"/>
            <a:ext cx="810981" cy="232371"/>
          </a:xfrm>
          <a:prstGeom prst="rect">
            <a:avLst/>
          </a:prstGeom>
          <a:noFill/>
          <a:ln>
            <a:noFill/>
          </a:ln>
          <a:effectLst/>
          <a:extLst>
            <a:ext uri="{909E8E84-426E-40DD-AFC4-6F175D3DCCD1}">
              <a14:hiddenFill xmlns:a14="http://schemas.microsoft.com/office/drawing/2010/main">
                <a:solidFill>
                  <a:srgbClr val="40637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lgn="l" eaLnBrk="0" hangingPunct="0">
              <a:spcBef>
                <a:spcPct val="20000"/>
              </a:spcBef>
              <a:buFont typeface="Wingdings" panose="05000000000000000000" pitchFamily="2" charset="2"/>
              <a:buChar char="§"/>
              <a:defRPr sz="3200">
                <a:solidFill>
                  <a:schemeClr val="tx1"/>
                </a:solidFill>
                <a:latin typeface="Arial" panose="020B0604020202020204" pitchFamily="34" charset="0"/>
                <a:ea typeface="MS PGothic" panose="020B0600070205080204" pitchFamily="-112" charset="-128"/>
              </a:defRPr>
            </a:lvl1pPr>
            <a:lvl2pPr marL="742950" indent="-285750" algn="l" eaLnBrk="0" hangingPunct="0">
              <a:spcBef>
                <a:spcPct val="20000"/>
              </a:spcBef>
              <a:buFont typeface="Wingdings" panose="05000000000000000000" pitchFamily="2" charset="2"/>
              <a:buChar char="§"/>
              <a:defRPr sz="2800">
                <a:solidFill>
                  <a:schemeClr val="tx1"/>
                </a:solidFill>
                <a:latin typeface="Arial" panose="020B0604020202020204" pitchFamily="34" charset="0"/>
                <a:ea typeface="MS PGothic" panose="020B0600070205080204" pitchFamily="-112" charset="-128"/>
              </a:defRPr>
            </a:lvl2pPr>
            <a:lvl3pPr marL="1143000" indent="-228600" algn="l" eaLnBrk="0" hangingPunct="0">
              <a:spcBef>
                <a:spcPct val="20000"/>
              </a:spcBef>
              <a:buFont typeface="Wingdings" panose="05000000000000000000" pitchFamily="2" charset="2"/>
              <a:buChar char="§"/>
              <a:defRPr sz="2400">
                <a:solidFill>
                  <a:schemeClr val="tx1"/>
                </a:solidFill>
                <a:latin typeface="Arial" panose="020B0604020202020204" pitchFamily="34" charset="0"/>
                <a:ea typeface="MS PGothic" panose="020B0600070205080204" pitchFamily="-112" charset="-128"/>
              </a:defRPr>
            </a:lvl3pPr>
            <a:lvl4pPr marL="16002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4pPr>
            <a:lvl5pPr marL="20574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9pPr>
          </a:lstStyle>
          <a:p>
            <a:pPr algn="ctr" eaLnBrk="1" hangingPunct="1">
              <a:spcBef>
                <a:spcPct val="0"/>
              </a:spcBef>
              <a:buFontTx/>
              <a:buNone/>
            </a:pPr>
            <a:r>
              <a:rPr lang="en-GB" altLang="en-US" sz="910" b="1" dirty="0">
                <a:solidFill>
                  <a:srgbClr val="000000"/>
                </a:solidFill>
                <a:ea typeface="Arial" panose="020B0604020202020204" pitchFamily="34" charset="0"/>
                <a:cs typeface="Arial" panose="020B0604020202020204" pitchFamily="34" charset="0"/>
              </a:rPr>
              <a:t>7 million</a:t>
            </a:r>
          </a:p>
        </p:txBody>
      </p:sp>
      <p:sp>
        <p:nvSpPr>
          <p:cNvPr id="172" name="Text Box 13"/>
          <p:cNvSpPr txBox="1">
            <a:spLocks noChangeArrowheads="1"/>
          </p:cNvSpPr>
          <p:nvPr/>
        </p:nvSpPr>
        <p:spPr bwMode="auto">
          <a:xfrm>
            <a:off x="7171186" y="2779685"/>
            <a:ext cx="901051" cy="232371"/>
          </a:xfrm>
          <a:prstGeom prst="rect">
            <a:avLst/>
          </a:prstGeom>
          <a:noFill/>
          <a:ln>
            <a:noFill/>
          </a:ln>
          <a:effectLst/>
          <a:extLst>
            <a:ext uri="{909E8E84-426E-40DD-AFC4-6F175D3DCCD1}">
              <a14:hiddenFill xmlns:a14="http://schemas.microsoft.com/office/drawing/2010/main">
                <a:solidFill>
                  <a:srgbClr val="40637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lgn="l" eaLnBrk="0" hangingPunct="0">
              <a:spcBef>
                <a:spcPct val="20000"/>
              </a:spcBef>
              <a:buFont typeface="Wingdings" panose="05000000000000000000" pitchFamily="2" charset="2"/>
              <a:buChar char="§"/>
              <a:defRPr sz="3200">
                <a:solidFill>
                  <a:schemeClr val="tx1"/>
                </a:solidFill>
                <a:latin typeface="Arial" panose="020B0604020202020204" pitchFamily="34" charset="0"/>
                <a:ea typeface="MS PGothic" panose="020B0600070205080204" pitchFamily="-112" charset="-128"/>
              </a:defRPr>
            </a:lvl1pPr>
            <a:lvl2pPr marL="742950" indent="-285750" algn="l" eaLnBrk="0" hangingPunct="0">
              <a:spcBef>
                <a:spcPct val="20000"/>
              </a:spcBef>
              <a:buFont typeface="Wingdings" panose="05000000000000000000" pitchFamily="2" charset="2"/>
              <a:buChar char="§"/>
              <a:defRPr sz="2800">
                <a:solidFill>
                  <a:schemeClr val="tx1"/>
                </a:solidFill>
                <a:latin typeface="Arial" panose="020B0604020202020204" pitchFamily="34" charset="0"/>
                <a:ea typeface="MS PGothic" panose="020B0600070205080204" pitchFamily="-112" charset="-128"/>
              </a:defRPr>
            </a:lvl2pPr>
            <a:lvl3pPr marL="1143000" indent="-228600" algn="l" eaLnBrk="0" hangingPunct="0">
              <a:spcBef>
                <a:spcPct val="20000"/>
              </a:spcBef>
              <a:buFont typeface="Wingdings" panose="05000000000000000000" pitchFamily="2" charset="2"/>
              <a:buChar char="§"/>
              <a:defRPr sz="2400">
                <a:solidFill>
                  <a:schemeClr val="tx1"/>
                </a:solidFill>
                <a:latin typeface="Arial" panose="020B0604020202020204" pitchFamily="34" charset="0"/>
                <a:ea typeface="MS PGothic" panose="020B0600070205080204" pitchFamily="-112" charset="-128"/>
              </a:defRPr>
            </a:lvl3pPr>
            <a:lvl4pPr marL="16002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4pPr>
            <a:lvl5pPr marL="20574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9pPr>
          </a:lstStyle>
          <a:p>
            <a:pPr algn="ctr" eaLnBrk="1" hangingPunct="1">
              <a:spcBef>
                <a:spcPct val="0"/>
              </a:spcBef>
              <a:buFontTx/>
              <a:buNone/>
            </a:pPr>
            <a:r>
              <a:rPr lang="en-GB" altLang="en-US" sz="910" b="1" dirty="0">
                <a:solidFill>
                  <a:srgbClr val="000000"/>
                </a:solidFill>
                <a:ea typeface="Arial" panose="020B0604020202020204" pitchFamily="34" charset="0"/>
                <a:cs typeface="Arial" panose="020B0604020202020204" pitchFamily="34" charset="0"/>
              </a:rPr>
              <a:t>2.2 million</a:t>
            </a:r>
          </a:p>
        </p:txBody>
      </p:sp>
      <p:sp>
        <p:nvSpPr>
          <p:cNvPr id="173" name="TextBox 172"/>
          <p:cNvSpPr txBox="1"/>
          <p:nvPr/>
        </p:nvSpPr>
        <p:spPr>
          <a:xfrm>
            <a:off x="6813925" y="1124789"/>
            <a:ext cx="1604870" cy="260392"/>
          </a:xfrm>
          <a:prstGeom prst="rect">
            <a:avLst/>
          </a:prstGeom>
          <a:noFill/>
        </p:spPr>
        <p:txBody>
          <a:bodyPr wrap="square" rtlCol="0">
            <a:spAutoFit/>
          </a:bodyPr>
          <a:lstStyle/>
          <a:p>
            <a:pPr algn="ctr"/>
            <a:r>
              <a:rPr lang="zh-CN" altLang="en-US" sz="1092" b="1" dirty="0">
                <a:solidFill>
                  <a:srgbClr val="FF3399"/>
                </a:solidFill>
                <a:latin typeface="Arial" panose="020B0604020202020204" pitchFamily="34" charset="0"/>
                <a:cs typeface="Arial" panose="020B0604020202020204" pitchFamily="34" charset="0"/>
              </a:rPr>
              <a:t>生产、制造与机械工程</a:t>
            </a:r>
            <a:endParaRPr lang="en-GB" altLang="en-US" sz="1092" b="1" dirty="0">
              <a:solidFill>
                <a:srgbClr val="FF3399"/>
              </a:solidFill>
              <a:latin typeface="Arial" panose="020B0604020202020204" pitchFamily="34" charset="0"/>
              <a:cs typeface="Arial" panose="020B0604020202020204" pitchFamily="34" charset="0"/>
            </a:endParaRPr>
          </a:p>
        </p:txBody>
      </p:sp>
      <p:sp>
        <p:nvSpPr>
          <p:cNvPr id="175" name="TextBox 174"/>
          <p:cNvSpPr txBox="1"/>
          <p:nvPr/>
        </p:nvSpPr>
        <p:spPr>
          <a:xfrm>
            <a:off x="4051162" y="3380233"/>
            <a:ext cx="916980" cy="470257"/>
          </a:xfrm>
          <a:prstGeom prst="rect">
            <a:avLst/>
          </a:prstGeom>
          <a:noFill/>
        </p:spPr>
        <p:txBody>
          <a:bodyPr wrap="square" rtlCol="0">
            <a:spAutoFit/>
          </a:bodyPr>
          <a:lstStyle/>
          <a:p>
            <a:r>
              <a:rPr lang="en-US" sz="2456" b="1" dirty="0">
                <a:solidFill>
                  <a:srgbClr val="8DC63F"/>
                </a:solidFill>
                <a:latin typeface="Arial" panose="020B0604020202020204" pitchFamily="34" charset="0"/>
                <a:cs typeface="Arial" panose="020B0604020202020204" pitchFamily="34" charset="0"/>
              </a:rPr>
              <a:t>1969</a:t>
            </a:r>
          </a:p>
        </p:txBody>
      </p:sp>
      <p:cxnSp>
        <p:nvCxnSpPr>
          <p:cNvPr id="176" name="Straight Connector 175"/>
          <p:cNvCxnSpPr/>
          <p:nvPr/>
        </p:nvCxnSpPr>
        <p:spPr>
          <a:xfrm>
            <a:off x="3878884" y="3773633"/>
            <a:ext cx="1031528" cy="172"/>
          </a:xfrm>
          <a:prstGeom prst="line">
            <a:avLst/>
          </a:prstGeom>
          <a:ln cap="rnd">
            <a:solidFill>
              <a:srgbClr val="8DC63F"/>
            </a:solidFill>
            <a:headEnd type="diamond" w="lg" len="med"/>
            <a:tailEnd type="none" w="lg" len="lg"/>
          </a:ln>
        </p:spPr>
        <p:style>
          <a:lnRef idx="1">
            <a:schemeClr val="accent1"/>
          </a:lnRef>
          <a:fillRef idx="0">
            <a:schemeClr val="accent1"/>
          </a:fillRef>
          <a:effectRef idx="0">
            <a:schemeClr val="accent1"/>
          </a:effectRef>
          <a:fontRef idx="minor">
            <a:schemeClr val="tx1"/>
          </a:fontRef>
        </p:style>
      </p:cxnSp>
      <p:grpSp>
        <p:nvGrpSpPr>
          <p:cNvPr id="177" name="Group 176"/>
          <p:cNvGrpSpPr/>
          <p:nvPr/>
        </p:nvGrpSpPr>
        <p:grpSpPr>
          <a:xfrm>
            <a:off x="4875435" y="3541181"/>
            <a:ext cx="367856" cy="392519"/>
            <a:chOff x="5013325" y="3354388"/>
            <a:chExt cx="323850" cy="346075"/>
          </a:xfrm>
        </p:grpSpPr>
        <p:sp>
          <p:nvSpPr>
            <p:cNvPr id="178" name="Freeform 212"/>
            <p:cNvSpPr>
              <a:spLocks noEditPoints="1"/>
            </p:cNvSpPr>
            <p:nvPr/>
          </p:nvSpPr>
          <p:spPr bwMode="auto">
            <a:xfrm>
              <a:off x="5013325" y="3376613"/>
              <a:ext cx="323850" cy="323850"/>
            </a:xfrm>
            <a:custGeom>
              <a:avLst/>
              <a:gdLst>
                <a:gd name="T0" fmla="*/ 169 w 184"/>
                <a:gd name="T1" fmla="*/ 0 h 184"/>
                <a:gd name="T2" fmla="*/ 162 w 184"/>
                <a:gd name="T3" fmla="*/ 0 h 184"/>
                <a:gd name="T4" fmla="*/ 162 w 184"/>
                <a:gd name="T5" fmla="*/ 9 h 184"/>
                <a:gd name="T6" fmla="*/ 153 w 184"/>
                <a:gd name="T7" fmla="*/ 17 h 184"/>
                <a:gd name="T8" fmla="*/ 143 w 184"/>
                <a:gd name="T9" fmla="*/ 9 h 184"/>
                <a:gd name="T10" fmla="*/ 143 w 184"/>
                <a:gd name="T11" fmla="*/ 0 h 184"/>
                <a:gd name="T12" fmla="*/ 122 w 184"/>
                <a:gd name="T13" fmla="*/ 0 h 184"/>
                <a:gd name="T14" fmla="*/ 122 w 184"/>
                <a:gd name="T15" fmla="*/ 9 h 184"/>
                <a:gd name="T16" fmla="*/ 112 w 184"/>
                <a:gd name="T17" fmla="*/ 17 h 184"/>
                <a:gd name="T18" fmla="*/ 103 w 184"/>
                <a:gd name="T19" fmla="*/ 9 h 184"/>
                <a:gd name="T20" fmla="*/ 103 w 184"/>
                <a:gd name="T21" fmla="*/ 0 h 184"/>
                <a:gd name="T22" fmla="*/ 81 w 184"/>
                <a:gd name="T23" fmla="*/ 0 h 184"/>
                <a:gd name="T24" fmla="*/ 81 w 184"/>
                <a:gd name="T25" fmla="*/ 9 h 184"/>
                <a:gd name="T26" fmla="*/ 72 w 184"/>
                <a:gd name="T27" fmla="*/ 17 h 184"/>
                <a:gd name="T28" fmla="*/ 62 w 184"/>
                <a:gd name="T29" fmla="*/ 9 h 184"/>
                <a:gd name="T30" fmla="*/ 62 w 184"/>
                <a:gd name="T31" fmla="*/ 0 h 184"/>
                <a:gd name="T32" fmla="*/ 41 w 184"/>
                <a:gd name="T33" fmla="*/ 0 h 184"/>
                <a:gd name="T34" fmla="*/ 41 w 184"/>
                <a:gd name="T35" fmla="*/ 9 h 184"/>
                <a:gd name="T36" fmla="*/ 31 w 184"/>
                <a:gd name="T37" fmla="*/ 17 h 184"/>
                <a:gd name="T38" fmla="*/ 21 w 184"/>
                <a:gd name="T39" fmla="*/ 9 h 184"/>
                <a:gd name="T40" fmla="*/ 21 w 184"/>
                <a:gd name="T41" fmla="*/ 0 h 184"/>
                <a:gd name="T42" fmla="*/ 15 w 184"/>
                <a:gd name="T43" fmla="*/ 0 h 184"/>
                <a:gd name="T44" fmla="*/ 0 w 184"/>
                <a:gd name="T45" fmla="*/ 15 h 184"/>
                <a:gd name="T46" fmla="*/ 0 w 184"/>
                <a:gd name="T47" fmla="*/ 169 h 184"/>
                <a:gd name="T48" fmla="*/ 15 w 184"/>
                <a:gd name="T49" fmla="*/ 184 h 184"/>
                <a:gd name="T50" fmla="*/ 169 w 184"/>
                <a:gd name="T51" fmla="*/ 184 h 184"/>
                <a:gd name="T52" fmla="*/ 184 w 184"/>
                <a:gd name="T53" fmla="*/ 169 h 184"/>
                <a:gd name="T54" fmla="*/ 184 w 184"/>
                <a:gd name="T55" fmla="*/ 15 h 184"/>
                <a:gd name="T56" fmla="*/ 169 w 184"/>
                <a:gd name="T57" fmla="*/ 0 h 184"/>
                <a:gd name="T58" fmla="*/ 159 w 184"/>
                <a:gd name="T59" fmla="*/ 160 h 184"/>
                <a:gd name="T60" fmla="*/ 24 w 184"/>
                <a:gd name="T61" fmla="*/ 160 h 184"/>
                <a:gd name="T62" fmla="*/ 24 w 184"/>
                <a:gd name="T63" fmla="*/ 53 h 184"/>
                <a:gd name="T64" fmla="*/ 159 w 184"/>
                <a:gd name="T65" fmla="*/ 53 h 184"/>
                <a:gd name="T66" fmla="*/ 159 w 184"/>
                <a:gd name="T67" fmla="*/ 16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 h="184">
                  <a:moveTo>
                    <a:pt x="169" y="0"/>
                  </a:moveTo>
                  <a:cubicBezTo>
                    <a:pt x="162" y="0"/>
                    <a:pt x="162" y="0"/>
                    <a:pt x="162" y="0"/>
                  </a:cubicBezTo>
                  <a:cubicBezTo>
                    <a:pt x="162" y="9"/>
                    <a:pt x="162" y="9"/>
                    <a:pt x="162" y="9"/>
                  </a:cubicBezTo>
                  <a:cubicBezTo>
                    <a:pt x="162" y="14"/>
                    <a:pt x="158" y="17"/>
                    <a:pt x="153" y="17"/>
                  </a:cubicBezTo>
                  <a:cubicBezTo>
                    <a:pt x="147" y="17"/>
                    <a:pt x="143" y="14"/>
                    <a:pt x="143" y="9"/>
                  </a:cubicBezTo>
                  <a:cubicBezTo>
                    <a:pt x="143" y="0"/>
                    <a:pt x="143" y="0"/>
                    <a:pt x="143" y="0"/>
                  </a:cubicBezTo>
                  <a:cubicBezTo>
                    <a:pt x="122" y="0"/>
                    <a:pt x="122" y="0"/>
                    <a:pt x="122" y="0"/>
                  </a:cubicBezTo>
                  <a:cubicBezTo>
                    <a:pt x="122" y="9"/>
                    <a:pt x="122" y="9"/>
                    <a:pt x="122" y="9"/>
                  </a:cubicBezTo>
                  <a:cubicBezTo>
                    <a:pt x="122" y="14"/>
                    <a:pt x="117" y="17"/>
                    <a:pt x="112" y="17"/>
                  </a:cubicBezTo>
                  <a:cubicBezTo>
                    <a:pt x="107" y="17"/>
                    <a:pt x="103" y="14"/>
                    <a:pt x="103" y="9"/>
                  </a:cubicBezTo>
                  <a:cubicBezTo>
                    <a:pt x="103" y="0"/>
                    <a:pt x="103" y="0"/>
                    <a:pt x="103" y="0"/>
                  </a:cubicBezTo>
                  <a:cubicBezTo>
                    <a:pt x="81" y="0"/>
                    <a:pt x="81" y="0"/>
                    <a:pt x="81" y="0"/>
                  </a:cubicBezTo>
                  <a:cubicBezTo>
                    <a:pt x="81" y="9"/>
                    <a:pt x="81" y="9"/>
                    <a:pt x="81" y="9"/>
                  </a:cubicBezTo>
                  <a:cubicBezTo>
                    <a:pt x="81" y="14"/>
                    <a:pt x="77" y="17"/>
                    <a:pt x="72" y="17"/>
                  </a:cubicBezTo>
                  <a:cubicBezTo>
                    <a:pt x="66" y="17"/>
                    <a:pt x="62" y="14"/>
                    <a:pt x="62" y="9"/>
                  </a:cubicBezTo>
                  <a:cubicBezTo>
                    <a:pt x="62" y="0"/>
                    <a:pt x="62" y="0"/>
                    <a:pt x="62" y="0"/>
                  </a:cubicBezTo>
                  <a:cubicBezTo>
                    <a:pt x="41" y="0"/>
                    <a:pt x="41" y="0"/>
                    <a:pt x="41" y="0"/>
                  </a:cubicBezTo>
                  <a:cubicBezTo>
                    <a:pt x="41" y="9"/>
                    <a:pt x="41" y="9"/>
                    <a:pt x="41" y="9"/>
                  </a:cubicBezTo>
                  <a:cubicBezTo>
                    <a:pt x="41" y="14"/>
                    <a:pt x="36" y="17"/>
                    <a:pt x="31" y="17"/>
                  </a:cubicBezTo>
                  <a:cubicBezTo>
                    <a:pt x="26" y="17"/>
                    <a:pt x="21" y="14"/>
                    <a:pt x="21" y="9"/>
                  </a:cubicBezTo>
                  <a:cubicBezTo>
                    <a:pt x="21" y="0"/>
                    <a:pt x="21" y="0"/>
                    <a:pt x="21" y="0"/>
                  </a:cubicBezTo>
                  <a:cubicBezTo>
                    <a:pt x="15" y="0"/>
                    <a:pt x="15" y="0"/>
                    <a:pt x="15" y="0"/>
                  </a:cubicBezTo>
                  <a:cubicBezTo>
                    <a:pt x="7" y="0"/>
                    <a:pt x="0" y="7"/>
                    <a:pt x="0" y="15"/>
                  </a:cubicBezTo>
                  <a:cubicBezTo>
                    <a:pt x="0" y="169"/>
                    <a:pt x="0" y="169"/>
                    <a:pt x="0" y="169"/>
                  </a:cubicBezTo>
                  <a:cubicBezTo>
                    <a:pt x="0" y="177"/>
                    <a:pt x="7" y="184"/>
                    <a:pt x="15" y="184"/>
                  </a:cubicBezTo>
                  <a:cubicBezTo>
                    <a:pt x="169" y="184"/>
                    <a:pt x="169" y="184"/>
                    <a:pt x="169" y="184"/>
                  </a:cubicBezTo>
                  <a:cubicBezTo>
                    <a:pt x="177" y="184"/>
                    <a:pt x="184" y="177"/>
                    <a:pt x="184" y="169"/>
                  </a:cubicBezTo>
                  <a:cubicBezTo>
                    <a:pt x="184" y="15"/>
                    <a:pt x="184" y="15"/>
                    <a:pt x="184" y="15"/>
                  </a:cubicBezTo>
                  <a:cubicBezTo>
                    <a:pt x="184" y="7"/>
                    <a:pt x="177" y="0"/>
                    <a:pt x="169" y="0"/>
                  </a:cubicBezTo>
                  <a:close/>
                  <a:moveTo>
                    <a:pt x="159" y="160"/>
                  </a:moveTo>
                  <a:cubicBezTo>
                    <a:pt x="24" y="160"/>
                    <a:pt x="24" y="160"/>
                    <a:pt x="24" y="160"/>
                  </a:cubicBezTo>
                  <a:cubicBezTo>
                    <a:pt x="24" y="53"/>
                    <a:pt x="24" y="53"/>
                    <a:pt x="24" y="53"/>
                  </a:cubicBezTo>
                  <a:cubicBezTo>
                    <a:pt x="159" y="53"/>
                    <a:pt x="159" y="53"/>
                    <a:pt x="159" y="53"/>
                  </a:cubicBezTo>
                  <a:lnTo>
                    <a:pt x="159" y="160"/>
                  </a:ln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79" name="Freeform 213"/>
            <p:cNvSpPr/>
            <p:nvPr/>
          </p:nvSpPr>
          <p:spPr bwMode="auto">
            <a:xfrm>
              <a:off x="5056188" y="3354388"/>
              <a:ext cx="22225" cy="47625"/>
            </a:xfrm>
            <a:custGeom>
              <a:avLst/>
              <a:gdLst>
                <a:gd name="T0" fmla="*/ 6 w 12"/>
                <a:gd name="T1" fmla="*/ 27 h 27"/>
                <a:gd name="T2" fmla="*/ 12 w 12"/>
                <a:gd name="T3" fmla="*/ 22 h 27"/>
                <a:gd name="T4" fmla="*/ 12 w 12"/>
                <a:gd name="T5" fmla="*/ 5 h 27"/>
                <a:gd name="T6" fmla="*/ 6 w 12"/>
                <a:gd name="T7" fmla="*/ 0 h 27"/>
                <a:gd name="T8" fmla="*/ 0 w 12"/>
                <a:gd name="T9" fmla="*/ 5 h 27"/>
                <a:gd name="T10" fmla="*/ 0 w 12"/>
                <a:gd name="T11" fmla="*/ 22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9" y="27"/>
                    <a:pt x="12" y="25"/>
                    <a:pt x="12" y="22"/>
                  </a:cubicBezTo>
                  <a:cubicBezTo>
                    <a:pt x="12" y="5"/>
                    <a:pt x="12" y="5"/>
                    <a:pt x="12" y="5"/>
                  </a:cubicBezTo>
                  <a:cubicBezTo>
                    <a:pt x="12" y="2"/>
                    <a:pt x="9" y="0"/>
                    <a:pt x="6" y="0"/>
                  </a:cubicBezTo>
                  <a:cubicBezTo>
                    <a:pt x="3" y="0"/>
                    <a:pt x="0" y="2"/>
                    <a:pt x="0" y="5"/>
                  </a:cubicBezTo>
                  <a:cubicBezTo>
                    <a:pt x="0" y="22"/>
                    <a:pt x="0" y="22"/>
                    <a:pt x="0" y="22"/>
                  </a:cubicBezTo>
                  <a:cubicBezTo>
                    <a:pt x="0" y="25"/>
                    <a:pt x="3" y="27"/>
                    <a:pt x="6" y="27"/>
                  </a:cubicBez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80" name="Freeform 214"/>
            <p:cNvSpPr/>
            <p:nvPr/>
          </p:nvSpPr>
          <p:spPr bwMode="auto">
            <a:xfrm>
              <a:off x="5129213" y="3354388"/>
              <a:ext cx="20637" cy="47625"/>
            </a:xfrm>
            <a:custGeom>
              <a:avLst/>
              <a:gdLst>
                <a:gd name="T0" fmla="*/ 6 w 12"/>
                <a:gd name="T1" fmla="*/ 27 h 27"/>
                <a:gd name="T2" fmla="*/ 12 w 12"/>
                <a:gd name="T3" fmla="*/ 22 h 27"/>
                <a:gd name="T4" fmla="*/ 12 w 12"/>
                <a:gd name="T5" fmla="*/ 5 h 27"/>
                <a:gd name="T6" fmla="*/ 6 w 12"/>
                <a:gd name="T7" fmla="*/ 0 h 27"/>
                <a:gd name="T8" fmla="*/ 0 w 12"/>
                <a:gd name="T9" fmla="*/ 5 h 27"/>
                <a:gd name="T10" fmla="*/ 0 w 12"/>
                <a:gd name="T11" fmla="*/ 22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9" y="27"/>
                    <a:pt x="12" y="25"/>
                    <a:pt x="12" y="22"/>
                  </a:cubicBezTo>
                  <a:cubicBezTo>
                    <a:pt x="12" y="5"/>
                    <a:pt x="12" y="5"/>
                    <a:pt x="12" y="5"/>
                  </a:cubicBezTo>
                  <a:cubicBezTo>
                    <a:pt x="12" y="2"/>
                    <a:pt x="9" y="0"/>
                    <a:pt x="6" y="0"/>
                  </a:cubicBezTo>
                  <a:cubicBezTo>
                    <a:pt x="2" y="0"/>
                    <a:pt x="0" y="2"/>
                    <a:pt x="0" y="5"/>
                  </a:cubicBezTo>
                  <a:cubicBezTo>
                    <a:pt x="0" y="22"/>
                    <a:pt x="0" y="22"/>
                    <a:pt x="0" y="22"/>
                  </a:cubicBezTo>
                  <a:cubicBezTo>
                    <a:pt x="0" y="25"/>
                    <a:pt x="2" y="27"/>
                    <a:pt x="6" y="27"/>
                  </a:cubicBez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81" name="Freeform 215"/>
            <p:cNvSpPr/>
            <p:nvPr/>
          </p:nvSpPr>
          <p:spPr bwMode="auto">
            <a:xfrm>
              <a:off x="5199063" y="3354388"/>
              <a:ext cx="20637" cy="47625"/>
            </a:xfrm>
            <a:custGeom>
              <a:avLst/>
              <a:gdLst>
                <a:gd name="T0" fmla="*/ 6 w 12"/>
                <a:gd name="T1" fmla="*/ 27 h 27"/>
                <a:gd name="T2" fmla="*/ 12 w 12"/>
                <a:gd name="T3" fmla="*/ 22 h 27"/>
                <a:gd name="T4" fmla="*/ 12 w 12"/>
                <a:gd name="T5" fmla="*/ 5 h 27"/>
                <a:gd name="T6" fmla="*/ 6 w 12"/>
                <a:gd name="T7" fmla="*/ 0 h 27"/>
                <a:gd name="T8" fmla="*/ 0 w 12"/>
                <a:gd name="T9" fmla="*/ 5 h 27"/>
                <a:gd name="T10" fmla="*/ 0 w 12"/>
                <a:gd name="T11" fmla="*/ 22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9" y="27"/>
                    <a:pt x="12" y="25"/>
                    <a:pt x="12" y="22"/>
                  </a:cubicBezTo>
                  <a:cubicBezTo>
                    <a:pt x="12" y="5"/>
                    <a:pt x="12" y="5"/>
                    <a:pt x="12" y="5"/>
                  </a:cubicBezTo>
                  <a:cubicBezTo>
                    <a:pt x="12" y="2"/>
                    <a:pt x="9" y="0"/>
                    <a:pt x="6" y="0"/>
                  </a:cubicBezTo>
                  <a:cubicBezTo>
                    <a:pt x="3" y="0"/>
                    <a:pt x="0" y="2"/>
                    <a:pt x="0" y="5"/>
                  </a:cubicBezTo>
                  <a:cubicBezTo>
                    <a:pt x="0" y="22"/>
                    <a:pt x="0" y="22"/>
                    <a:pt x="0" y="22"/>
                  </a:cubicBezTo>
                  <a:cubicBezTo>
                    <a:pt x="0" y="25"/>
                    <a:pt x="3" y="27"/>
                    <a:pt x="6" y="27"/>
                  </a:cubicBez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82" name="Freeform 216"/>
            <p:cNvSpPr/>
            <p:nvPr/>
          </p:nvSpPr>
          <p:spPr bwMode="auto">
            <a:xfrm>
              <a:off x="5272088" y="3354388"/>
              <a:ext cx="20637" cy="47625"/>
            </a:xfrm>
            <a:custGeom>
              <a:avLst/>
              <a:gdLst>
                <a:gd name="T0" fmla="*/ 6 w 12"/>
                <a:gd name="T1" fmla="*/ 27 h 27"/>
                <a:gd name="T2" fmla="*/ 12 w 12"/>
                <a:gd name="T3" fmla="*/ 22 h 27"/>
                <a:gd name="T4" fmla="*/ 12 w 12"/>
                <a:gd name="T5" fmla="*/ 5 h 27"/>
                <a:gd name="T6" fmla="*/ 6 w 12"/>
                <a:gd name="T7" fmla="*/ 0 h 27"/>
                <a:gd name="T8" fmla="*/ 0 w 12"/>
                <a:gd name="T9" fmla="*/ 5 h 27"/>
                <a:gd name="T10" fmla="*/ 0 w 12"/>
                <a:gd name="T11" fmla="*/ 22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9" y="27"/>
                    <a:pt x="12" y="25"/>
                    <a:pt x="12" y="22"/>
                  </a:cubicBezTo>
                  <a:cubicBezTo>
                    <a:pt x="12" y="5"/>
                    <a:pt x="12" y="5"/>
                    <a:pt x="12" y="5"/>
                  </a:cubicBezTo>
                  <a:cubicBezTo>
                    <a:pt x="12" y="2"/>
                    <a:pt x="9" y="0"/>
                    <a:pt x="6" y="0"/>
                  </a:cubicBezTo>
                  <a:cubicBezTo>
                    <a:pt x="2" y="0"/>
                    <a:pt x="0" y="2"/>
                    <a:pt x="0" y="5"/>
                  </a:cubicBezTo>
                  <a:cubicBezTo>
                    <a:pt x="0" y="22"/>
                    <a:pt x="0" y="22"/>
                    <a:pt x="0" y="22"/>
                  </a:cubicBezTo>
                  <a:cubicBezTo>
                    <a:pt x="0" y="25"/>
                    <a:pt x="2" y="27"/>
                    <a:pt x="6" y="27"/>
                  </a:cubicBez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83" name="Freeform 217"/>
            <p:cNvSpPr/>
            <p:nvPr/>
          </p:nvSpPr>
          <p:spPr bwMode="auto">
            <a:xfrm>
              <a:off x="5086350" y="3508375"/>
              <a:ext cx="53975" cy="109537"/>
            </a:xfrm>
            <a:custGeom>
              <a:avLst/>
              <a:gdLst>
                <a:gd name="T0" fmla="*/ 18 w 31"/>
                <a:gd name="T1" fmla="*/ 62 h 62"/>
                <a:gd name="T2" fmla="*/ 31 w 31"/>
                <a:gd name="T3" fmla="*/ 62 h 62"/>
                <a:gd name="T4" fmla="*/ 31 w 31"/>
                <a:gd name="T5" fmla="*/ 0 h 62"/>
                <a:gd name="T6" fmla="*/ 20 w 31"/>
                <a:gd name="T7" fmla="*/ 0 h 62"/>
                <a:gd name="T8" fmla="*/ 12 w 31"/>
                <a:gd name="T9" fmla="*/ 10 h 62"/>
                <a:gd name="T10" fmla="*/ 0 w 31"/>
                <a:gd name="T11" fmla="*/ 16 h 62"/>
                <a:gd name="T12" fmla="*/ 0 w 31"/>
                <a:gd name="T13" fmla="*/ 27 h 62"/>
                <a:gd name="T14" fmla="*/ 18 w 31"/>
                <a:gd name="T15" fmla="*/ 18 h 62"/>
                <a:gd name="T16" fmla="*/ 18 w 31"/>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62">
                  <a:moveTo>
                    <a:pt x="18" y="62"/>
                  </a:moveTo>
                  <a:cubicBezTo>
                    <a:pt x="31" y="62"/>
                    <a:pt x="31" y="62"/>
                    <a:pt x="31" y="62"/>
                  </a:cubicBezTo>
                  <a:cubicBezTo>
                    <a:pt x="31" y="0"/>
                    <a:pt x="31" y="0"/>
                    <a:pt x="31" y="0"/>
                  </a:cubicBezTo>
                  <a:cubicBezTo>
                    <a:pt x="20" y="0"/>
                    <a:pt x="20" y="0"/>
                    <a:pt x="20" y="0"/>
                  </a:cubicBezTo>
                  <a:cubicBezTo>
                    <a:pt x="19" y="4"/>
                    <a:pt x="16" y="7"/>
                    <a:pt x="12" y="10"/>
                  </a:cubicBezTo>
                  <a:cubicBezTo>
                    <a:pt x="8" y="13"/>
                    <a:pt x="4" y="15"/>
                    <a:pt x="0" y="16"/>
                  </a:cubicBezTo>
                  <a:cubicBezTo>
                    <a:pt x="0" y="27"/>
                    <a:pt x="0" y="27"/>
                    <a:pt x="0" y="27"/>
                  </a:cubicBezTo>
                  <a:cubicBezTo>
                    <a:pt x="7" y="25"/>
                    <a:pt x="13" y="22"/>
                    <a:pt x="18" y="18"/>
                  </a:cubicBezTo>
                  <a:lnTo>
                    <a:pt x="18" y="62"/>
                  </a:ln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sp>
          <p:nvSpPr>
            <p:cNvPr id="184" name="Freeform 218"/>
            <p:cNvSpPr/>
            <p:nvPr/>
          </p:nvSpPr>
          <p:spPr bwMode="auto">
            <a:xfrm>
              <a:off x="5178425" y="3509963"/>
              <a:ext cx="84137" cy="111125"/>
            </a:xfrm>
            <a:custGeom>
              <a:avLst/>
              <a:gdLst>
                <a:gd name="T0" fmla="*/ 23 w 48"/>
                <a:gd name="T1" fmla="*/ 53 h 63"/>
                <a:gd name="T2" fmla="*/ 17 w 48"/>
                <a:gd name="T3" fmla="*/ 51 h 63"/>
                <a:gd name="T4" fmla="*/ 13 w 48"/>
                <a:gd name="T5" fmla="*/ 44 h 63"/>
                <a:gd name="T6" fmla="*/ 0 w 48"/>
                <a:gd name="T7" fmla="*/ 46 h 63"/>
                <a:gd name="T8" fmla="*/ 7 w 48"/>
                <a:gd name="T9" fmla="*/ 58 h 63"/>
                <a:gd name="T10" fmla="*/ 23 w 48"/>
                <a:gd name="T11" fmla="*/ 63 h 63"/>
                <a:gd name="T12" fmla="*/ 42 w 48"/>
                <a:gd name="T13" fmla="*/ 54 h 63"/>
                <a:gd name="T14" fmla="*/ 48 w 48"/>
                <a:gd name="T15" fmla="*/ 41 h 63"/>
                <a:gd name="T16" fmla="*/ 41 w 48"/>
                <a:gd name="T17" fmla="*/ 26 h 63"/>
                <a:gd name="T18" fmla="*/ 26 w 48"/>
                <a:gd name="T19" fmla="*/ 20 h 63"/>
                <a:gd name="T20" fmla="*/ 17 w 48"/>
                <a:gd name="T21" fmla="*/ 22 h 63"/>
                <a:gd name="T22" fmla="*/ 19 w 48"/>
                <a:gd name="T23" fmla="*/ 11 h 63"/>
                <a:gd name="T24" fmla="*/ 44 w 48"/>
                <a:gd name="T25" fmla="*/ 11 h 63"/>
                <a:gd name="T26" fmla="*/ 44 w 48"/>
                <a:gd name="T27" fmla="*/ 0 h 63"/>
                <a:gd name="T28" fmla="*/ 8 w 48"/>
                <a:gd name="T29" fmla="*/ 0 h 63"/>
                <a:gd name="T30" fmla="*/ 2 w 48"/>
                <a:gd name="T31" fmla="*/ 33 h 63"/>
                <a:gd name="T32" fmla="*/ 13 w 48"/>
                <a:gd name="T33" fmla="*/ 34 h 63"/>
                <a:gd name="T34" fmla="*/ 23 w 48"/>
                <a:gd name="T35" fmla="*/ 29 h 63"/>
                <a:gd name="T36" fmla="*/ 31 w 48"/>
                <a:gd name="T37" fmla="*/ 32 h 63"/>
                <a:gd name="T38" fmla="*/ 34 w 48"/>
                <a:gd name="T39" fmla="*/ 41 h 63"/>
                <a:gd name="T40" fmla="*/ 31 w 48"/>
                <a:gd name="T41" fmla="*/ 50 h 63"/>
                <a:gd name="T42" fmla="*/ 23 w 48"/>
                <a:gd name="T43" fmla="*/ 5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63">
                  <a:moveTo>
                    <a:pt x="23" y="53"/>
                  </a:moveTo>
                  <a:cubicBezTo>
                    <a:pt x="21" y="53"/>
                    <a:pt x="19" y="52"/>
                    <a:pt x="17" y="51"/>
                  </a:cubicBezTo>
                  <a:cubicBezTo>
                    <a:pt x="15" y="49"/>
                    <a:pt x="14" y="47"/>
                    <a:pt x="13" y="44"/>
                  </a:cubicBezTo>
                  <a:cubicBezTo>
                    <a:pt x="0" y="46"/>
                    <a:pt x="0" y="46"/>
                    <a:pt x="0" y="46"/>
                  </a:cubicBezTo>
                  <a:cubicBezTo>
                    <a:pt x="1" y="51"/>
                    <a:pt x="3" y="55"/>
                    <a:pt x="7" y="58"/>
                  </a:cubicBezTo>
                  <a:cubicBezTo>
                    <a:pt x="11" y="61"/>
                    <a:pt x="17" y="63"/>
                    <a:pt x="23" y="63"/>
                  </a:cubicBezTo>
                  <a:cubicBezTo>
                    <a:pt x="31" y="63"/>
                    <a:pt x="38" y="60"/>
                    <a:pt x="42" y="54"/>
                  </a:cubicBezTo>
                  <a:cubicBezTo>
                    <a:pt x="46" y="50"/>
                    <a:pt x="48" y="46"/>
                    <a:pt x="48" y="41"/>
                  </a:cubicBezTo>
                  <a:cubicBezTo>
                    <a:pt x="48" y="35"/>
                    <a:pt x="45" y="30"/>
                    <a:pt x="41" y="26"/>
                  </a:cubicBezTo>
                  <a:cubicBezTo>
                    <a:pt x="37" y="22"/>
                    <a:pt x="32" y="20"/>
                    <a:pt x="26" y="20"/>
                  </a:cubicBezTo>
                  <a:cubicBezTo>
                    <a:pt x="23" y="20"/>
                    <a:pt x="20" y="21"/>
                    <a:pt x="17" y="22"/>
                  </a:cubicBezTo>
                  <a:cubicBezTo>
                    <a:pt x="19" y="11"/>
                    <a:pt x="19" y="11"/>
                    <a:pt x="19" y="11"/>
                  </a:cubicBezTo>
                  <a:cubicBezTo>
                    <a:pt x="44" y="11"/>
                    <a:pt x="44" y="11"/>
                    <a:pt x="44" y="11"/>
                  </a:cubicBezTo>
                  <a:cubicBezTo>
                    <a:pt x="44" y="0"/>
                    <a:pt x="44" y="0"/>
                    <a:pt x="44" y="0"/>
                  </a:cubicBezTo>
                  <a:cubicBezTo>
                    <a:pt x="8" y="0"/>
                    <a:pt x="8" y="0"/>
                    <a:pt x="8" y="0"/>
                  </a:cubicBezTo>
                  <a:cubicBezTo>
                    <a:pt x="2" y="33"/>
                    <a:pt x="2" y="33"/>
                    <a:pt x="2" y="33"/>
                  </a:cubicBezTo>
                  <a:cubicBezTo>
                    <a:pt x="13" y="34"/>
                    <a:pt x="13" y="34"/>
                    <a:pt x="13" y="34"/>
                  </a:cubicBezTo>
                  <a:cubicBezTo>
                    <a:pt x="16" y="31"/>
                    <a:pt x="19" y="29"/>
                    <a:pt x="23" y="29"/>
                  </a:cubicBezTo>
                  <a:cubicBezTo>
                    <a:pt x="26" y="29"/>
                    <a:pt x="29" y="30"/>
                    <a:pt x="31" y="32"/>
                  </a:cubicBezTo>
                  <a:cubicBezTo>
                    <a:pt x="33" y="34"/>
                    <a:pt x="34" y="37"/>
                    <a:pt x="34" y="41"/>
                  </a:cubicBezTo>
                  <a:cubicBezTo>
                    <a:pt x="34" y="45"/>
                    <a:pt x="33" y="48"/>
                    <a:pt x="31" y="50"/>
                  </a:cubicBezTo>
                  <a:cubicBezTo>
                    <a:pt x="29" y="52"/>
                    <a:pt x="26" y="53"/>
                    <a:pt x="23" y="53"/>
                  </a:cubicBezTo>
                  <a:close/>
                </a:path>
              </a:pathLst>
            </a:custGeom>
            <a:solidFill>
              <a:srgbClr val="8DC63F"/>
            </a:solidFill>
            <a:ln>
              <a:noFill/>
            </a:ln>
          </p:spPr>
          <p:txBody>
            <a:bodyPr vert="horz" wrap="square" lIns="41587" tIns="20793" rIns="41587" bIns="20793" numCol="1" anchor="t" anchorCtr="0" compatLnSpc="1"/>
            <a:lstStyle/>
            <a:p>
              <a:endParaRPr lang="en-IE" sz="910" dirty="0">
                <a:solidFill>
                  <a:srgbClr val="000000"/>
                </a:solidFill>
                <a:latin typeface="Arial" panose="020B0604020202020204" pitchFamily="34" charset="0"/>
                <a:cs typeface="Arial" panose="020B0604020202020204" pitchFamily="34" charset="0"/>
              </a:endParaRPr>
            </a:p>
          </p:txBody>
        </p:sp>
      </p:grpSp>
      <p:cxnSp>
        <p:nvCxnSpPr>
          <p:cNvPr id="185" name="Straight Connector 184"/>
          <p:cNvCxnSpPr/>
          <p:nvPr/>
        </p:nvCxnSpPr>
        <p:spPr>
          <a:xfrm>
            <a:off x="5243291" y="3773632"/>
            <a:ext cx="1200123" cy="0"/>
          </a:xfrm>
          <a:prstGeom prst="line">
            <a:avLst/>
          </a:prstGeom>
          <a:ln cap="rnd">
            <a:solidFill>
              <a:srgbClr val="8DC63F"/>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86" name="TextBox 185"/>
          <p:cNvSpPr txBox="1"/>
          <p:nvPr/>
        </p:nvSpPr>
        <p:spPr>
          <a:xfrm>
            <a:off x="5308257" y="3429224"/>
            <a:ext cx="916980" cy="652230"/>
          </a:xfrm>
          <a:prstGeom prst="rect">
            <a:avLst/>
          </a:prstGeom>
          <a:noFill/>
        </p:spPr>
        <p:txBody>
          <a:bodyPr wrap="square" rtlCol="0">
            <a:spAutoFit/>
          </a:bodyPr>
          <a:lstStyle/>
          <a:p>
            <a:r>
              <a:rPr lang="en-US" sz="1819" b="1" dirty="0">
                <a:solidFill>
                  <a:srgbClr val="8DC63F"/>
                </a:solidFill>
                <a:latin typeface="Arial" panose="020B0604020202020204" pitchFamily="34" charset="0"/>
                <a:cs typeface="Arial" panose="020B0604020202020204" pitchFamily="34" charset="0"/>
              </a:rPr>
              <a:t>To date</a:t>
            </a:r>
          </a:p>
        </p:txBody>
      </p:sp>
      <p:sp>
        <p:nvSpPr>
          <p:cNvPr id="187" name="Rectangle 186"/>
          <p:cNvSpPr/>
          <p:nvPr/>
        </p:nvSpPr>
        <p:spPr>
          <a:xfrm>
            <a:off x="3982851" y="4104913"/>
            <a:ext cx="2098741" cy="444930"/>
          </a:xfrm>
          <a:prstGeom prst="rect">
            <a:avLst/>
          </a:prstGeom>
        </p:spPr>
        <p:txBody>
          <a:bodyPr wrap="square">
            <a:spAutoFit/>
          </a:bodyPr>
          <a:lstStyle/>
          <a:p>
            <a:pPr marL="207935" lvl="1">
              <a:lnSpc>
                <a:spcPct val="120000"/>
              </a:lnSpc>
              <a:spcBef>
                <a:spcPct val="25000"/>
              </a:spcBef>
            </a:pPr>
            <a:r>
              <a:rPr lang="en-GB" altLang="en-US" sz="1001" dirty="0">
                <a:solidFill>
                  <a:srgbClr val="000000"/>
                </a:solidFill>
                <a:latin typeface="Arial" panose="020B0604020202020204" pitchFamily="34" charset="0"/>
                <a:cs typeface="Arial" panose="020B0604020202020204" pitchFamily="34" charset="0"/>
              </a:rPr>
              <a:t>Or </a:t>
            </a:r>
            <a:r>
              <a:rPr lang="en-GB" altLang="en-US" sz="1001" b="1" dirty="0">
                <a:solidFill>
                  <a:srgbClr val="000000"/>
                </a:solidFill>
                <a:latin typeface="Arial" panose="020B0604020202020204" pitchFamily="34" charset="0"/>
                <a:cs typeface="Arial" panose="020B0604020202020204" pitchFamily="34" charset="0"/>
              </a:rPr>
              <a:t>1898</a:t>
            </a:r>
            <a:r>
              <a:rPr lang="en-GB" altLang="en-US" sz="1001" dirty="0">
                <a:solidFill>
                  <a:srgbClr val="000000"/>
                </a:solidFill>
                <a:latin typeface="Arial" panose="020B0604020202020204" pitchFamily="34" charset="0"/>
                <a:cs typeface="Arial" panose="020B0604020202020204" pitchFamily="34" charset="0"/>
              </a:rPr>
              <a:t> with the </a:t>
            </a:r>
            <a:r>
              <a:rPr lang="en-GB" altLang="en-US" sz="1001" dirty="0" err="1">
                <a:solidFill>
                  <a:srgbClr val="000000"/>
                </a:solidFill>
                <a:latin typeface="Arial" panose="020B0604020202020204" pitchFamily="34" charset="0"/>
                <a:cs typeface="Arial" panose="020B0604020202020204" pitchFamily="34" charset="0"/>
              </a:rPr>
              <a:t>Inspec</a:t>
            </a:r>
            <a:r>
              <a:rPr lang="en-GB" altLang="en-US" sz="1001" dirty="0">
                <a:solidFill>
                  <a:srgbClr val="000000"/>
                </a:solidFill>
                <a:latin typeface="Arial" panose="020B0604020202020204" pitchFamily="34" charset="0"/>
                <a:cs typeface="Arial" panose="020B0604020202020204" pitchFamily="34" charset="0"/>
              </a:rPr>
              <a:t> Archiv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ular Callout 3"/>
          <p:cNvSpPr/>
          <p:nvPr/>
        </p:nvSpPr>
        <p:spPr>
          <a:xfrm>
            <a:off x="1550657" y="3002947"/>
            <a:ext cx="2591659" cy="712445"/>
          </a:xfrm>
          <a:prstGeom prst="wedgeRectCallout">
            <a:avLst>
              <a:gd name="adj1" fmla="val -41317"/>
              <a:gd name="adj2" fmla="val -98637"/>
            </a:avLst>
          </a:prstGeom>
          <a:solidFill>
            <a:srgbClr val="F68933">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en-US" sz="819"/>
          </a:p>
        </p:txBody>
      </p:sp>
      <p:sp>
        <p:nvSpPr>
          <p:cNvPr id="9219" name="Text Box 3"/>
          <p:cNvSpPr txBox="1">
            <a:spLocks noChangeArrowheads="1"/>
          </p:cNvSpPr>
          <p:nvPr/>
        </p:nvSpPr>
        <p:spPr bwMode="auto">
          <a:xfrm>
            <a:off x="1550657" y="3045811"/>
            <a:ext cx="2591659" cy="57342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68577" tIns="34288" rIns="68577" bIns="34288">
            <a:spAutoFit/>
          </a:bodyPr>
          <a:lstStyle>
            <a:lvl1pPr algn="l" eaLnBrk="0" hangingPunct="0">
              <a:spcBef>
                <a:spcPct val="20000"/>
              </a:spcBef>
              <a:buFont typeface="Wingdings" panose="05000000000000000000" pitchFamily="2" charset="2"/>
              <a:buChar char="§"/>
              <a:defRPr sz="3200">
                <a:solidFill>
                  <a:schemeClr val="tx1"/>
                </a:solidFill>
                <a:latin typeface="Arial" panose="020B0604020202020204" pitchFamily="34" charset="0"/>
                <a:ea typeface="MS PGothic" panose="020B0600070205080204" pitchFamily="-112" charset="-128"/>
              </a:defRPr>
            </a:lvl1pPr>
            <a:lvl2pPr algn="l" eaLnBrk="0" hangingPunct="0">
              <a:spcBef>
                <a:spcPct val="20000"/>
              </a:spcBef>
              <a:buFont typeface="Wingdings" panose="05000000000000000000" pitchFamily="2" charset="2"/>
              <a:buChar char="§"/>
              <a:defRPr sz="2800">
                <a:solidFill>
                  <a:schemeClr val="tx1"/>
                </a:solidFill>
                <a:latin typeface="Arial" panose="020B0604020202020204" pitchFamily="34" charset="0"/>
                <a:ea typeface="MS PGothic" panose="020B0600070205080204" pitchFamily="-112" charset="-128"/>
              </a:defRPr>
            </a:lvl2pPr>
            <a:lvl3pPr marL="1143000" indent="-228600" algn="l" eaLnBrk="0" hangingPunct="0">
              <a:spcBef>
                <a:spcPct val="20000"/>
              </a:spcBef>
              <a:buFont typeface="Wingdings" panose="05000000000000000000" pitchFamily="2" charset="2"/>
              <a:buChar char="§"/>
              <a:defRPr sz="2400">
                <a:solidFill>
                  <a:schemeClr val="tx1"/>
                </a:solidFill>
                <a:latin typeface="Arial" panose="020B0604020202020204" pitchFamily="34" charset="0"/>
                <a:ea typeface="MS PGothic" panose="020B0600070205080204" pitchFamily="-112" charset="-128"/>
              </a:defRPr>
            </a:lvl3pPr>
            <a:lvl4pPr marL="16002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4pPr>
            <a:lvl5pPr marL="20574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9pPr>
          </a:lstStyle>
          <a:p>
            <a:pPr eaLnBrk="1" hangingPunct="1">
              <a:spcBef>
                <a:spcPct val="0"/>
              </a:spcBef>
              <a:buFontTx/>
              <a:buNone/>
            </a:pPr>
            <a:r>
              <a:rPr lang="en-US" altLang="zh-CN" sz="1092" dirty="0" err="1"/>
              <a:t>Inspec</a:t>
            </a:r>
            <a:r>
              <a:rPr lang="zh-CN" altLang="en-US" sz="1092" dirty="0"/>
              <a:t>能够精确搜索跨学科的主题领域和跨越传统科学学科的新兴技术，使相关内容能够被广泛的研究人员发现</a:t>
            </a:r>
            <a:endParaRPr lang="en-GB" altLang="en-US" sz="1046" dirty="0">
              <a:solidFill>
                <a:srgbClr val="000000"/>
              </a:solidFill>
            </a:endParaRPr>
          </a:p>
        </p:txBody>
      </p:sp>
      <p:sp>
        <p:nvSpPr>
          <p:cNvPr id="9228" name="Text Box 5"/>
          <p:cNvSpPr txBox="1">
            <a:spLocks noChangeArrowheads="1"/>
          </p:cNvSpPr>
          <p:nvPr/>
        </p:nvSpPr>
        <p:spPr bwMode="auto">
          <a:xfrm>
            <a:off x="1731546" y="976278"/>
            <a:ext cx="2643154" cy="1608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68577" tIns="34288" rIns="68577" bIns="34288">
            <a:spAutoFit/>
          </a:bodyPr>
          <a:lstStyle>
            <a:lvl1pPr algn="l" eaLnBrk="0" hangingPunct="0">
              <a:spcBef>
                <a:spcPct val="20000"/>
              </a:spcBef>
              <a:buFont typeface="Wingdings" panose="05000000000000000000" pitchFamily="2" charset="2"/>
              <a:buChar char="§"/>
              <a:defRPr sz="3200">
                <a:solidFill>
                  <a:schemeClr val="tx1"/>
                </a:solidFill>
                <a:latin typeface="Arial" panose="020B0604020202020204" pitchFamily="34" charset="0"/>
                <a:ea typeface="MS PGothic" panose="020B0600070205080204" pitchFamily="-112" charset="-128"/>
              </a:defRPr>
            </a:lvl1pPr>
            <a:lvl2pPr marL="742950" indent="-285750" algn="l" eaLnBrk="0" hangingPunct="0">
              <a:spcBef>
                <a:spcPct val="20000"/>
              </a:spcBef>
              <a:buFont typeface="Wingdings" panose="05000000000000000000" pitchFamily="2" charset="2"/>
              <a:buChar char="§"/>
              <a:defRPr sz="2800">
                <a:solidFill>
                  <a:schemeClr val="tx1"/>
                </a:solidFill>
                <a:latin typeface="Arial" panose="020B0604020202020204" pitchFamily="34" charset="0"/>
                <a:ea typeface="MS PGothic" panose="020B0600070205080204" pitchFamily="-112" charset="-128"/>
              </a:defRPr>
            </a:lvl2pPr>
            <a:lvl3pPr marL="1143000" indent="-228600" algn="l" eaLnBrk="0" hangingPunct="0">
              <a:spcBef>
                <a:spcPct val="20000"/>
              </a:spcBef>
              <a:buFont typeface="Wingdings" panose="05000000000000000000" pitchFamily="2" charset="2"/>
              <a:buChar char="§"/>
              <a:defRPr sz="2400">
                <a:solidFill>
                  <a:schemeClr val="tx1"/>
                </a:solidFill>
                <a:latin typeface="Arial" panose="020B0604020202020204" pitchFamily="34" charset="0"/>
                <a:ea typeface="MS PGothic" panose="020B0600070205080204" pitchFamily="-112" charset="-128"/>
              </a:defRPr>
            </a:lvl3pPr>
            <a:lvl4pPr marL="16002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4pPr>
            <a:lvl5pPr marL="2057400" indent="-228600" algn="l" eaLnBrk="0" hangingPunct="0">
              <a:spcBef>
                <a:spcPct val="20000"/>
              </a:spcBef>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Arial" panose="020B0604020202020204" pitchFamily="34" charset="0"/>
                <a:ea typeface="MS PGothic" panose="020B0600070205080204" pitchFamily="-112" charset="-128"/>
              </a:defRPr>
            </a:lvl9pPr>
          </a:lstStyle>
          <a:p>
            <a:pPr eaLnBrk="1" hangingPunct="1">
              <a:lnSpc>
                <a:spcPct val="250000"/>
              </a:lnSpc>
              <a:spcBef>
                <a:spcPct val="0"/>
              </a:spcBef>
              <a:buNone/>
            </a:pPr>
            <a:r>
              <a:rPr lang="zh-CN" altLang="en-US" sz="1046" dirty="0">
                <a:solidFill>
                  <a:srgbClr val="000000"/>
                </a:solidFill>
              </a:rPr>
              <a:t>物理学</a:t>
            </a:r>
            <a:endParaRPr lang="en-GB" altLang="en-US" sz="1046" dirty="0">
              <a:solidFill>
                <a:srgbClr val="000000"/>
              </a:solidFill>
            </a:endParaRPr>
          </a:p>
          <a:p>
            <a:pPr eaLnBrk="1" hangingPunct="1">
              <a:lnSpc>
                <a:spcPct val="250000"/>
              </a:lnSpc>
              <a:spcBef>
                <a:spcPct val="0"/>
              </a:spcBef>
              <a:buNone/>
            </a:pPr>
            <a:r>
              <a:rPr lang="en-GB" altLang="en-US" sz="1046" dirty="0">
                <a:solidFill>
                  <a:srgbClr val="000000"/>
                </a:solidFill>
              </a:rPr>
              <a:t> </a:t>
            </a:r>
            <a:r>
              <a:rPr lang="zh-CN" altLang="en-US" sz="1046" dirty="0">
                <a:solidFill>
                  <a:srgbClr val="000000"/>
                </a:solidFill>
              </a:rPr>
              <a:t>电气与电子工程</a:t>
            </a:r>
            <a:r>
              <a:rPr lang="en-GB" altLang="en-US" sz="1046" dirty="0">
                <a:solidFill>
                  <a:srgbClr val="000000"/>
                </a:solidFill>
              </a:rPr>
              <a:t> </a:t>
            </a:r>
          </a:p>
          <a:p>
            <a:pPr eaLnBrk="1" hangingPunct="1">
              <a:lnSpc>
                <a:spcPct val="250000"/>
              </a:lnSpc>
              <a:spcBef>
                <a:spcPct val="0"/>
              </a:spcBef>
              <a:buNone/>
            </a:pPr>
            <a:r>
              <a:rPr lang="zh-CN" altLang="en-US" sz="1046" dirty="0">
                <a:solidFill>
                  <a:srgbClr val="000000"/>
                </a:solidFill>
              </a:rPr>
              <a:t>计算机信息技术与控制工程</a:t>
            </a:r>
            <a:r>
              <a:rPr lang="en-GB" altLang="en-US" sz="1046" dirty="0">
                <a:solidFill>
                  <a:srgbClr val="000000"/>
                </a:solidFill>
              </a:rPr>
              <a:t> </a:t>
            </a:r>
          </a:p>
          <a:p>
            <a:pPr eaLnBrk="1" hangingPunct="1">
              <a:lnSpc>
                <a:spcPct val="250000"/>
              </a:lnSpc>
              <a:spcBef>
                <a:spcPct val="0"/>
              </a:spcBef>
              <a:buNone/>
            </a:pPr>
            <a:r>
              <a:rPr lang="zh-CN" altLang="en-US" sz="1046" dirty="0">
                <a:solidFill>
                  <a:srgbClr val="000000"/>
                </a:solidFill>
              </a:rPr>
              <a:t>机械与生产工程学</a:t>
            </a:r>
            <a:endParaRPr lang="en-GB" altLang="en-US" sz="1046" dirty="0">
              <a:solidFill>
                <a:srgbClr val="000000"/>
              </a:solidFill>
            </a:endParaRPr>
          </a:p>
        </p:txBody>
      </p:sp>
      <p:sp>
        <p:nvSpPr>
          <p:cNvPr id="19" name="Freeform 38"/>
          <p:cNvSpPr>
            <a:spLocks noEditPoints="1"/>
          </p:cNvSpPr>
          <p:nvPr/>
        </p:nvSpPr>
        <p:spPr bwMode="auto">
          <a:xfrm>
            <a:off x="5292364" y="1897852"/>
            <a:ext cx="1376503" cy="977513"/>
          </a:xfrm>
          <a:custGeom>
            <a:avLst/>
            <a:gdLst>
              <a:gd name="T0" fmla="*/ 612 w 623"/>
              <a:gd name="T1" fmla="*/ 43 h 442"/>
              <a:gd name="T2" fmla="*/ 598 w 623"/>
              <a:gd name="T3" fmla="*/ 43 h 442"/>
              <a:gd name="T4" fmla="*/ 598 w 623"/>
              <a:gd name="T5" fmla="*/ 29 h 442"/>
              <a:gd name="T6" fmla="*/ 590 w 623"/>
              <a:gd name="T7" fmla="*/ 18 h 442"/>
              <a:gd name="T8" fmla="*/ 438 w 623"/>
              <a:gd name="T9" fmla="*/ 0 h 442"/>
              <a:gd name="T10" fmla="*/ 312 w 623"/>
              <a:gd name="T11" fmla="*/ 32 h 442"/>
              <a:gd name="T12" fmla="*/ 185 w 623"/>
              <a:gd name="T13" fmla="*/ 0 h 442"/>
              <a:gd name="T14" fmla="*/ 33 w 623"/>
              <a:gd name="T15" fmla="*/ 18 h 442"/>
              <a:gd name="T16" fmla="*/ 25 w 623"/>
              <a:gd name="T17" fmla="*/ 29 h 442"/>
              <a:gd name="T18" fmla="*/ 25 w 623"/>
              <a:gd name="T19" fmla="*/ 43 h 442"/>
              <a:gd name="T20" fmla="*/ 11 w 623"/>
              <a:gd name="T21" fmla="*/ 43 h 442"/>
              <a:gd name="T22" fmla="*/ 0 w 623"/>
              <a:gd name="T23" fmla="*/ 55 h 442"/>
              <a:gd name="T24" fmla="*/ 0 w 623"/>
              <a:gd name="T25" fmla="*/ 408 h 442"/>
              <a:gd name="T26" fmla="*/ 11 w 623"/>
              <a:gd name="T27" fmla="*/ 419 h 442"/>
              <a:gd name="T28" fmla="*/ 263 w 623"/>
              <a:gd name="T29" fmla="*/ 419 h 442"/>
              <a:gd name="T30" fmla="*/ 312 w 623"/>
              <a:gd name="T31" fmla="*/ 442 h 442"/>
              <a:gd name="T32" fmla="*/ 360 w 623"/>
              <a:gd name="T33" fmla="*/ 419 h 442"/>
              <a:gd name="T34" fmla="*/ 612 w 623"/>
              <a:gd name="T35" fmla="*/ 419 h 442"/>
              <a:gd name="T36" fmla="*/ 623 w 623"/>
              <a:gd name="T37" fmla="*/ 408 h 442"/>
              <a:gd name="T38" fmla="*/ 623 w 623"/>
              <a:gd name="T39" fmla="*/ 55 h 442"/>
              <a:gd name="T40" fmla="*/ 612 w 623"/>
              <a:gd name="T41" fmla="*/ 43 h 442"/>
              <a:gd name="T42" fmla="*/ 576 w 623"/>
              <a:gd name="T43" fmla="*/ 38 h 442"/>
              <a:gd name="T44" fmla="*/ 576 w 623"/>
              <a:gd name="T45" fmla="*/ 368 h 442"/>
              <a:gd name="T46" fmla="*/ 438 w 623"/>
              <a:gd name="T47" fmla="*/ 353 h 442"/>
              <a:gd name="T48" fmla="*/ 323 w 623"/>
              <a:gd name="T49" fmla="*/ 377 h 442"/>
              <a:gd name="T50" fmla="*/ 323 w 623"/>
              <a:gd name="T51" fmla="*/ 52 h 442"/>
              <a:gd name="T52" fmla="*/ 438 w 623"/>
              <a:gd name="T53" fmla="*/ 23 h 442"/>
              <a:gd name="T54" fmla="*/ 576 w 623"/>
              <a:gd name="T55" fmla="*/ 38 h 442"/>
              <a:gd name="T56" fmla="*/ 47 w 623"/>
              <a:gd name="T57" fmla="*/ 38 h 442"/>
              <a:gd name="T58" fmla="*/ 185 w 623"/>
              <a:gd name="T59" fmla="*/ 23 h 442"/>
              <a:gd name="T60" fmla="*/ 300 w 623"/>
              <a:gd name="T61" fmla="*/ 52 h 442"/>
              <a:gd name="T62" fmla="*/ 300 w 623"/>
              <a:gd name="T63" fmla="*/ 377 h 442"/>
              <a:gd name="T64" fmla="*/ 185 w 623"/>
              <a:gd name="T65" fmla="*/ 353 h 442"/>
              <a:gd name="T66" fmla="*/ 47 w 623"/>
              <a:gd name="T67" fmla="*/ 368 h 442"/>
              <a:gd name="T68" fmla="*/ 47 w 623"/>
              <a:gd name="T69" fmla="*/ 3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3" h="442">
                <a:moveTo>
                  <a:pt x="612" y="43"/>
                </a:moveTo>
                <a:cubicBezTo>
                  <a:pt x="598" y="43"/>
                  <a:pt x="598" y="43"/>
                  <a:pt x="598" y="43"/>
                </a:cubicBezTo>
                <a:cubicBezTo>
                  <a:pt x="598" y="29"/>
                  <a:pt x="598" y="29"/>
                  <a:pt x="598" y="29"/>
                </a:cubicBezTo>
                <a:cubicBezTo>
                  <a:pt x="598" y="24"/>
                  <a:pt x="595" y="19"/>
                  <a:pt x="590" y="18"/>
                </a:cubicBezTo>
                <a:cubicBezTo>
                  <a:pt x="586" y="18"/>
                  <a:pt x="513" y="0"/>
                  <a:pt x="438" y="0"/>
                </a:cubicBezTo>
                <a:cubicBezTo>
                  <a:pt x="380" y="0"/>
                  <a:pt x="337" y="11"/>
                  <a:pt x="312" y="32"/>
                </a:cubicBezTo>
                <a:cubicBezTo>
                  <a:pt x="286" y="11"/>
                  <a:pt x="243" y="0"/>
                  <a:pt x="185" y="0"/>
                </a:cubicBezTo>
                <a:cubicBezTo>
                  <a:pt x="110" y="0"/>
                  <a:pt x="37" y="18"/>
                  <a:pt x="33" y="18"/>
                </a:cubicBezTo>
                <a:cubicBezTo>
                  <a:pt x="28" y="19"/>
                  <a:pt x="25" y="24"/>
                  <a:pt x="25" y="29"/>
                </a:cubicBezTo>
                <a:cubicBezTo>
                  <a:pt x="25" y="43"/>
                  <a:pt x="25" y="43"/>
                  <a:pt x="25" y="43"/>
                </a:cubicBezTo>
                <a:cubicBezTo>
                  <a:pt x="11" y="43"/>
                  <a:pt x="11" y="43"/>
                  <a:pt x="11" y="43"/>
                </a:cubicBezTo>
                <a:cubicBezTo>
                  <a:pt x="5" y="43"/>
                  <a:pt x="0" y="48"/>
                  <a:pt x="0" y="55"/>
                </a:cubicBezTo>
                <a:cubicBezTo>
                  <a:pt x="0" y="408"/>
                  <a:pt x="0" y="408"/>
                  <a:pt x="0" y="408"/>
                </a:cubicBezTo>
                <a:cubicBezTo>
                  <a:pt x="0" y="414"/>
                  <a:pt x="5" y="419"/>
                  <a:pt x="11" y="419"/>
                </a:cubicBezTo>
                <a:cubicBezTo>
                  <a:pt x="263" y="419"/>
                  <a:pt x="263" y="419"/>
                  <a:pt x="263" y="419"/>
                </a:cubicBezTo>
                <a:cubicBezTo>
                  <a:pt x="268" y="440"/>
                  <a:pt x="288" y="442"/>
                  <a:pt x="312" y="442"/>
                </a:cubicBezTo>
                <a:cubicBezTo>
                  <a:pt x="335" y="442"/>
                  <a:pt x="355" y="440"/>
                  <a:pt x="360" y="419"/>
                </a:cubicBezTo>
                <a:cubicBezTo>
                  <a:pt x="612" y="419"/>
                  <a:pt x="612" y="419"/>
                  <a:pt x="612" y="419"/>
                </a:cubicBezTo>
                <a:cubicBezTo>
                  <a:pt x="618" y="419"/>
                  <a:pt x="623" y="414"/>
                  <a:pt x="623" y="408"/>
                </a:cubicBezTo>
                <a:cubicBezTo>
                  <a:pt x="623" y="55"/>
                  <a:pt x="623" y="55"/>
                  <a:pt x="623" y="55"/>
                </a:cubicBezTo>
                <a:cubicBezTo>
                  <a:pt x="623" y="48"/>
                  <a:pt x="618" y="43"/>
                  <a:pt x="612" y="43"/>
                </a:cubicBezTo>
                <a:close/>
                <a:moveTo>
                  <a:pt x="576" y="38"/>
                </a:moveTo>
                <a:cubicBezTo>
                  <a:pt x="576" y="368"/>
                  <a:pt x="576" y="368"/>
                  <a:pt x="576" y="368"/>
                </a:cubicBezTo>
                <a:cubicBezTo>
                  <a:pt x="551" y="363"/>
                  <a:pt x="495" y="353"/>
                  <a:pt x="438" y="353"/>
                </a:cubicBezTo>
                <a:cubicBezTo>
                  <a:pt x="388" y="353"/>
                  <a:pt x="349" y="361"/>
                  <a:pt x="323" y="377"/>
                </a:cubicBezTo>
                <a:cubicBezTo>
                  <a:pt x="323" y="52"/>
                  <a:pt x="323" y="52"/>
                  <a:pt x="323" y="52"/>
                </a:cubicBezTo>
                <a:cubicBezTo>
                  <a:pt x="344" y="33"/>
                  <a:pt x="384" y="23"/>
                  <a:pt x="438" y="23"/>
                </a:cubicBezTo>
                <a:cubicBezTo>
                  <a:pt x="496" y="23"/>
                  <a:pt x="554" y="34"/>
                  <a:pt x="576" y="38"/>
                </a:cubicBezTo>
                <a:close/>
                <a:moveTo>
                  <a:pt x="47" y="38"/>
                </a:moveTo>
                <a:cubicBezTo>
                  <a:pt x="69" y="34"/>
                  <a:pt x="127" y="23"/>
                  <a:pt x="185" y="23"/>
                </a:cubicBezTo>
                <a:cubicBezTo>
                  <a:pt x="239" y="23"/>
                  <a:pt x="279" y="33"/>
                  <a:pt x="300" y="52"/>
                </a:cubicBezTo>
                <a:cubicBezTo>
                  <a:pt x="300" y="377"/>
                  <a:pt x="300" y="377"/>
                  <a:pt x="300" y="377"/>
                </a:cubicBezTo>
                <a:cubicBezTo>
                  <a:pt x="274" y="361"/>
                  <a:pt x="235" y="353"/>
                  <a:pt x="185" y="353"/>
                </a:cubicBezTo>
                <a:cubicBezTo>
                  <a:pt x="128" y="353"/>
                  <a:pt x="72" y="363"/>
                  <a:pt x="47" y="368"/>
                </a:cubicBezTo>
                <a:lnTo>
                  <a:pt x="47" y="38"/>
                </a:lnTo>
                <a:close/>
              </a:path>
            </a:pathLst>
          </a:custGeom>
          <a:solidFill>
            <a:schemeClr val="bg1">
              <a:lumMod val="65000"/>
            </a:schemeClr>
          </a:solidFill>
          <a:ln>
            <a:noFill/>
          </a:ln>
        </p:spPr>
        <p:txBody>
          <a:bodyPr vert="horz" wrap="square" lIns="68577" tIns="34288" rIns="68577" bIns="34288" numCol="1" anchor="t" anchorCtr="0" compatLnSpc="1"/>
          <a:lstStyle/>
          <a:p>
            <a:endParaRPr lang="en-IE" sz="819"/>
          </a:p>
        </p:txBody>
      </p:sp>
      <p:sp>
        <p:nvSpPr>
          <p:cNvPr id="3" name="Rectangle 2"/>
          <p:cNvSpPr/>
          <p:nvPr/>
        </p:nvSpPr>
        <p:spPr>
          <a:xfrm>
            <a:off x="1549964" y="1219906"/>
            <a:ext cx="213923" cy="1631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en-US" sz="819"/>
          </a:p>
        </p:txBody>
      </p:sp>
      <p:sp>
        <p:nvSpPr>
          <p:cNvPr id="21" name="Rectangle 20"/>
          <p:cNvSpPr/>
          <p:nvPr/>
        </p:nvSpPr>
        <p:spPr>
          <a:xfrm>
            <a:off x="1549964" y="1599642"/>
            <a:ext cx="213923" cy="16311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en-US" sz="819"/>
          </a:p>
        </p:txBody>
      </p:sp>
      <p:sp>
        <p:nvSpPr>
          <p:cNvPr id="22" name="Rectangle 21"/>
          <p:cNvSpPr/>
          <p:nvPr/>
        </p:nvSpPr>
        <p:spPr>
          <a:xfrm>
            <a:off x="1549964" y="1953358"/>
            <a:ext cx="213923" cy="16311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en-US" sz="819"/>
          </a:p>
        </p:txBody>
      </p:sp>
      <p:graphicFrame>
        <p:nvGraphicFramePr>
          <p:cNvPr id="13" name="Chart 12"/>
          <p:cNvGraphicFramePr/>
          <p:nvPr>
            <p:extLst>
              <p:ext uri="{D42A27DB-BD31-4B8C-83A1-F6EECF244321}">
                <p14:modId xmlns:p14="http://schemas.microsoft.com/office/powerpoint/2010/main" val="262946460"/>
              </p:ext>
            </p:extLst>
          </p:nvPr>
        </p:nvGraphicFramePr>
        <p:xfrm>
          <a:off x="4190786" y="696612"/>
          <a:ext cx="4261453" cy="3499801"/>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1533793" y="2372396"/>
            <a:ext cx="213923" cy="163116"/>
          </a:xfrm>
          <a:prstGeom prst="rect">
            <a:avLst/>
          </a:prstGeom>
          <a:solidFill>
            <a:srgbClr val="0093D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en-US" sz="819"/>
          </a:p>
        </p:txBody>
      </p:sp>
      <p:sp>
        <p:nvSpPr>
          <p:cNvPr id="12" name="Title 1"/>
          <p:cNvSpPr txBox="1"/>
          <p:nvPr/>
        </p:nvSpPr>
        <p:spPr>
          <a:xfrm>
            <a:off x="433475" y="228670"/>
            <a:ext cx="8349146" cy="467942"/>
          </a:xfrm>
          <a:prstGeom prst="rect">
            <a:avLst/>
          </a:prstGeom>
        </p:spPr>
        <p:txBody>
          <a:bodyPr lIns="68577" tIns="34288" rIns="68577" bIns="34288"/>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776">
              <a:spcBef>
                <a:spcPts val="61"/>
              </a:spcBef>
            </a:pPr>
            <a:r>
              <a:rPr lang="zh-CN" altLang="en-US" sz="2410" spc="11" dirty="0">
                <a:latin typeface="Arial" panose="020B0604020202020204" pitchFamily="34" charset="0"/>
                <a:cs typeface="Arial" panose="020B0604020202020204" pitchFamily="34" charset="0"/>
              </a:rPr>
              <a:t>收录学科范围</a:t>
            </a:r>
            <a:endParaRPr lang="en-GB" sz="2410" spc="11" dirty="0">
              <a:latin typeface="Arial" panose="020B0604020202020204" pitchFamily="34" charset="0"/>
              <a:cs typeface="Arial" panose="020B0604020202020204" pitchFamily="34" charset="0"/>
            </a:endParaRPr>
          </a:p>
        </p:txBody>
      </p:sp>
      <p:sp>
        <p:nvSpPr>
          <p:cNvPr id="15" name="object 33"/>
          <p:cNvSpPr/>
          <p:nvPr/>
        </p:nvSpPr>
        <p:spPr>
          <a:xfrm>
            <a:off x="337797" y="700336"/>
            <a:ext cx="8469014" cy="0"/>
          </a:xfrm>
          <a:custGeom>
            <a:avLst/>
            <a:gdLst/>
            <a:ahLst/>
            <a:cxnLst/>
            <a:rect l="l" t="t" r="r" b="b"/>
            <a:pathLst>
              <a:path w="18621375">
                <a:moveTo>
                  <a:pt x="0" y="0"/>
                </a:moveTo>
                <a:lnTo>
                  <a:pt x="18621265" y="0"/>
                </a:lnTo>
              </a:path>
            </a:pathLst>
          </a:custGeom>
          <a:ln w="30679">
            <a:solidFill>
              <a:srgbClr val="008BCB"/>
            </a:solidFill>
          </a:ln>
        </p:spPr>
        <p:txBody>
          <a:bodyPr wrap="square" lIns="0" tIns="0" rIns="0" bIns="0" rtlCol="0"/>
          <a:lstStyle/>
          <a:p>
            <a:endParaRPr sz="373"/>
          </a:p>
        </p:txBody>
      </p:sp>
      <p:grpSp>
        <p:nvGrpSpPr>
          <p:cNvPr id="16" name="Group 36"/>
          <p:cNvGrpSpPr/>
          <p:nvPr/>
        </p:nvGrpSpPr>
        <p:grpSpPr>
          <a:xfrm>
            <a:off x="337798" y="4543825"/>
            <a:ext cx="8469245" cy="322606"/>
            <a:chOff x="742032" y="9990805"/>
            <a:chExt cx="18621884" cy="709334"/>
          </a:xfrm>
        </p:grpSpPr>
        <p:sp>
          <p:nvSpPr>
            <p:cNvPr id="17" name="object 5"/>
            <p:cNvSpPr/>
            <p:nvPr/>
          </p:nvSpPr>
          <p:spPr>
            <a:xfrm>
              <a:off x="16225746" y="9990805"/>
              <a:ext cx="3138170" cy="575945"/>
            </a:xfrm>
            <a:custGeom>
              <a:avLst/>
              <a:gdLst/>
              <a:ahLst/>
              <a:cxnLst/>
              <a:rect l="l" t="t" r="r" b="b"/>
              <a:pathLst>
                <a:path w="3138169" h="575945">
                  <a:moveTo>
                    <a:pt x="0" y="575720"/>
                  </a:moveTo>
                  <a:lnTo>
                    <a:pt x="3137548" y="575720"/>
                  </a:lnTo>
                  <a:lnTo>
                    <a:pt x="3137548" y="0"/>
                  </a:lnTo>
                  <a:lnTo>
                    <a:pt x="0" y="0"/>
                  </a:lnTo>
                  <a:lnTo>
                    <a:pt x="0" y="575720"/>
                  </a:lnTo>
                  <a:close/>
                </a:path>
              </a:pathLst>
            </a:custGeom>
            <a:solidFill>
              <a:srgbClr val="000000"/>
            </a:solidFill>
          </p:spPr>
          <p:txBody>
            <a:bodyPr wrap="square" lIns="0" tIns="0" rIns="0" bIns="0" rtlCol="0"/>
            <a:lstStyle/>
            <a:p>
              <a:endParaRPr sz="373"/>
            </a:p>
          </p:txBody>
        </p:sp>
        <p:sp>
          <p:nvSpPr>
            <p:cNvPr id="18" name="object 6"/>
            <p:cNvSpPr/>
            <p:nvPr/>
          </p:nvSpPr>
          <p:spPr>
            <a:xfrm>
              <a:off x="16485709" y="10159390"/>
              <a:ext cx="2617637" cy="246840"/>
            </a:xfrm>
            <a:prstGeom prst="rect">
              <a:avLst/>
            </a:prstGeom>
            <a:blipFill>
              <a:blip r:embed="rId4" cstate="print"/>
              <a:stretch>
                <a:fillRect/>
              </a:stretch>
            </a:blipFill>
          </p:spPr>
          <p:txBody>
            <a:bodyPr wrap="square" lIns="0" tIns="0" rIns="0" bIns="0" rtlCol="0"/>
            <a:lstStyle/>
            <a:p>
              <a:endParaRPr sz="373"/>
            </a:p>
          </p:txBody>
        </p:sp>
        <p:grpSp>
          <p:nvGrpSpPr>
            <p:cNvPr id="20" name="Group 40"/>
            <p:cNvGrpSpPr/>
            <p:nvPr/>
          </p:nvGrpSpPr>
          <p:grpSpPr>
            <a:xfrm>
              <a:off x="742032" y="10037530"/>
              <a:ext cx="4391696" cy="662609"/>
              <a:chOff x="742032" y="10037530"/>
              <a:chExt cx="4391696" cy="662609"/>
            </a:xfrm>
          </p:grpSpPr>
          <p:sp>
            <p:nvSpPr>
              <p:cNvPr id="23" name="object 14"/>
              <p:cNvSpPr/>
              <p:nvPr/>
            </p:nvSpPr>
            <p:spPr>
              <a:xfrm>
                <a:off x="2200405" y="10241089"/>
                <a:ext cx="204470" cy="316231"/>
              </a:xfrm>
              <a:custGeom>
                <a:avLst/>
                <a:gdLst/>
                <a:ahLst/>
                <a:cxnLst/>
                <a:rect l="l" t="t" r="r" b="b"/>
                <a:pathLst>
                  <a:path w="204469" h="316229">
                    <a:moveTo>
                      <a:pt x="0" y="245584"/>
                    </a:moveTo>
                    <a:lnTo>
                      <a:pt x="0" y="298158"/>
                    </a:lnTo>
                    <a:lnTo>
                      <a:pt x="18753" y="304837"/>
                    </a:lnTo>
                    <a:lnTo>
                      <a:pt x="39676" y="310394"/>
                    </a:lnTo>
                    <a:lnTo>
                      <a:pt x="62182" y="314195"/>
                    </a:lnTo>
                    <a:lnTo>
                      <a:pt x="85683" y="315602"/>
                    </a:lnTo>
                    <a:lnTo>
                      <a:pt x="130911" y="310513"/>
                    </a:lnTo>
                    <a:lnTo>
                      <a:pt x="168628" y="294487"/>
                    </a:lnTo>
                    <a:lnTo>
                      <a:pt x="189667" y="271604"/>
                    </a:lnTo>
                    <a:lnTo>
                      <a:pt x="85055" y="271604"/>
                    </a:lnTo>
                    <a:lnTo>
                      <a:pt x="65368" y="269469"/>
                    </a:lnTo>
                    <a:lnTo>
                      <a:pt x="43304" y="263741"/>
                    </a:lnTo>
                    <a:lnTo>
                      <a:pt x="20852" y="255441"/>
                    </a:lnTo>
                    <a:lnTo>
                      <a:pt x="0" y="245584"/>
                    </a:lnTo>
                    <a:close/>
                  </a:path>
                  <a:path w="204469" h="316229">
                    <a:moveTo>
                      <a:pt x="112216" y="0"/>
                    </a:moveTo>
                    <a:lnTo>
                      <a:pt x="65543" y="6494"/>
                    </a:lnTo>
                    <a:lnTo>
                      <a:pt x="32203" y="24228"/>
                    </a:lnTo>
                    <a:lnTo>
                      <a:pt x="12197" y="50574"/>
                    </a:lnTo>
                    <a:lnTo>
                      <a:pt x="5528" y="82908"/>
                    </a:lnTo>
                    <a:lnTo>
                      <a:pt x="15870" y="125744"/>
                    </a:lnTo>
                    <a:lnTo>
                      <a:pt x="41726" y="153135"/>
                    </a:lnTo>
                    <a:lnTo>
                      <a:pt x="75338" y="171210"/>
                    </a:lnTo>
                    <a:lnTo>
                      <a:pt x="108949" y="186096"/>
                    </a:lnTo>
                    <a:lnTo>
                      <a:pt x="134805" y="203920"/>
                    </a:lnTo>
                    <a:lnTo>
                      <a:pt x="145147" y="230809"/>
                    </a:lnTo>
                    <a:lnTo>
                      <a:pt x="140759" y="247940"/>
                    </a:lnTo>
                    <a:lnTo>
                      <a:pt x="128439" y="260768"/>
                    </a:lnTo>
                    <a:lnTo>
                      <a:pt x="109450" y="268815"/>
                    </a:lnTo>
                    <a:lnTo>
                      <a:pt x="85055" y="271604"/>
                    </a:lnTo>
                    <a:lnTo>
                      <a:pt x="189667" y="271604"/>
                    </a:lnTo>
                    <a:lnTo>
                      <a:pt x="194463" y="266388"/>
                    </a:lnTo>
                    <a:lnTo>
                      <a:pt x="204046" y="225082"/>
                    </a:lnTo>
                    <a:lnTo>
                      <a:pt x="193509" y="183590"/>
                    </a:lnTo>
                    <a:lnTo>
                      <a:pt x="167167" y="156247"/>
                    </a:lnTo>
                    <a:lnTo>
                      <a:pt x="132922" y="137651"/>
                    </a:lnTo>
                    <a:lnTo>
                      <a:pt x="98678" y="122403"/>
                    </a:lnTo>
                    <a:lnTo>
                      <a:pt x="72335" y="105104"/>
                    </a:lnTo>
                    <a:lnTo>
                      <a:pt x="61799" y="80353"/>
                    </a:lnTo>
                    <a:lnTo>
                      <a:pt x="65796" y="64753"/>
                    </a:lnTo>
                    <a:lnTo>
                      <a:pt x="76822" y="54058"/>
                    </a:lnTo>
                    <a:lnTo>
                      <a:pt x="93427" y="47906"/>
                    </a:lnTo>
                    <a:lnTo>
                      <a:pt x="114164" y="45935"/>
                    </a:lnTo>
                    <a:lnTo>
                      <a:pt x="193020" y="45935"/>
                    </a:lnTo>
                    <a:lnTo>
                      <a:pt x="193020" y="15968"/>
                    </a:lnTo>
                    <a:lnTo>
                      <a:pt x="176217" y="9709"/>
                    </a:lnTo>
                    <a:lnTo>
                      <a:pt x="157467" y="4638"/>
                    </a:lnTo>
                    <a:lnTo>
                      <a:pt x="136293" y="1240"/>
                    </a:lnTo>
                    <a:lnTo>
                      <a:pt x="112216" y="0"/>
                    </a:lnTo>
                    <a:close/>
                  </a:path>
                  <a:path w="204469" h="316229">
                    <a:moveTo>
                      <a:pt x="193020" y="45935"/>
                    </a:moveTo>
                    <a:lnTo>
                      <a:pt x="114164" y="45935"/>
                    </a:lnTo>
                    <a:lnTo>
                      <a:pt x="136929" y="47477"/>
                    </a:lnTo>
                    <a:lnTo>
                      <a:pt x="157216" y="51587"/>
                    </a:lnTo>
                    <a:lnTo>
                      <a:pt x="175691" y="57491"/>
                    </a:lnTo>
                    <a:lnTo>
                      <a:pt x="193020" y="64416"/>
                    </a:lnTo>
                    <a:lnTo>
                      <a:pt x="193020" y="45935"/>
                    </a:lnTo>
                    <a:close/>
                  </a:path>
                </a:pathLst>
              </a:custGeom>
              <a:solidFill>
                <a:srgbClr val="000000"/>
              </a:solidFill>
            </p:spPr>
            <p:txBody>
              <a:bodyPr wrap="square" lIns="0" tIns="0" rIns="0" bIns="0" rtlCol="0"/>
              <a:lstStyle/>
              <a:p>
                <a:endParaRPr sz="373"/>
              </a:p>
            </p:txBody>
          </p:sp>
          <p:sp>
            <p:nvSpPr>
              <p:cNvPr id="24" name="object 15"/>
              <p:cNvSpPr/>
              <p:nvPr/>
            </p:nvSpPr>
            <p:spPr>
              <a:xfrm>
                <a:off x="2429346" y="10239764"/>
                <a:ext cx="262256" cy="460375"/>
              </a:xfrm>
              <a:custGeom>
                <a:avLst/>
                <a:gdLst/>
                <a:ahLst/>
                <a:cxnLst/>
                <a:rect l="l" t="t" r="r" b="b"/>
                <a:pathLst>
                  <a:path w="262255" h="460375">
                    <a:moveTo>
                      <a:pt x="146" y="460271"/>
                    </a:moveTo>
                    <a:lnTo>
                      <a:pt x="0" y="460310"/>
                    </a:lnTo>
                    <a:lnTo>
                      <a:pt x="146" y="460331"/>
                    </a:lnTo>
                    <a:close/>
                  </a:path>
                  <a:path w="262255" h="460375">
                    <a:moveTo>
                      <a:pt x="106195" y="0"/>
                    </a:moveTo>
                    <a:lnTo>
                      <a:pt x="73609" y="2023"/>
                    </a:lnTo>
                    <a:lnTo>
                      <a:pt x="44913" y="7097"/>
                    </a:lnTo>
                    <a:lnTo>
                      <a:pt x="20346" y="13724"/>
                    </a:lnTo>
                    <a:lnTo>
                      <a:pt x="146" y="20407"/>
                    </a:lnTo>
                    <a:lnTo>
                      <a:pt x="146" y="460271"/>
                    </a:lnTo>
                    <a:lnTo>
                      <a:pt x="49916" y="432206"/>
                    </a:lnTo>
                    <a:lnTo>
                      <a:pt x="57087" y="306639"/>
                    </a:lnTo>
                    <a:lnTo>
                      <a:pt x="157757" y="306639"/>
                    </a:lnTo>
                    <a:lnTo>
                      <a:pt x="196225" y="288184"/>
                    </a:lnTo>
                    <a:lnTo>
                      <a:pt x="216802" y="268410"/>
                    </a:lnTo>
                    <a:lnTo>
                      <a:pt x="103588" y="268410"/>
                    </a:lnTo>
                    <a:lnTo>
                      <a:pt x="90600" y="267715"/>
                    </a:lnTo>
                    <a:lnTo>
                      <a:pt x="79120" y="265705"/>
                    </a:lnTo>
                    <a:lnTo>
                      <a:pt x="68249" y="262495"/>
                    </a:lnTo>
                    <a:lnTo>
                      <a:pt x="57087" y="258201"/>
                    </a:lnTo>
                    <a:lnTo>
                      <a:pt x="57087" y="56092"/>
                    </a:lnTo>
                    <a:lnTo>
                      <a:pt x="67096" y="53392"/>
                    </a:lnTo>
                    <a:lnTo>
                      <a:pt x="78002" y="51159"/>
                    </a:lnTo>
                    <a:lnTo>
                      <a:pt x="90244" y="49638"/>
                    </a:lnTo>
                    <a:lnTo>
                      <a:pt x="104258" y="49077"/>
                    </a:lnTo>
                    <a:lnTo>
                      <a:pt x="225611" y="49077"/>
                    </a:lnTo>
                    <a:lnTo>
                      <a:pt x="203494" y="26951"/>
                    </a:lnTo>
                    <a:lnTo>
                      <a:pt x="160133" y="6926"/>
                    </a:lnTo>
                    <a:lnTo>
                      <a:pt x="106195" y="0"/>
                    </a:lnTo>
                    <a:close/>
                  </a:path>
                  <a:path w="262255" h="460375">
                    <a:moveTo>
                      <a:pt x="157757" y="306639"/>
                    </a:moveTo>
                    <a:lnTo>
                      <a:pt x="57087" y="306639"/>
                    </a:lnTo>
                    <a:lnTo>
                      <a:pt x="67564" y="310201"/>
                    </a:lnTo>
                    <a:lnTo>
                      <a:pt x="78955" y="313034"/>
                    </a:lnTo>
                    <a:lnTo>
                      <a:pt x="91690" y="314906"/>
                    </a:lnTo>
                    <a:lnTo>
                      <a:pt x="106195" y="315582"/>
                    </a:lnTo>
                    <a:lnTo>
                      <a:pt x="153671" y="308600"/>
                    </a:lnTo>
                    <a:lnTo>
                      <a:pt x="157757" y="306639"/>
                    </a:lnTo>
                    <a:close/>
                  </a:path>
                  <a:path w="262255" h="460375">
                    <a:moveTo>
                      <a:pt x="225611" y="49077"/>
                    </a:moveTo>
                    <a:lnTo>
                      <a:pt x="104258" y="49077"/>
                    </a:lnTo>
                    <a:lnTo>
                      <a:pt x="142353" y="55415"/>
                    </a:lnTo>
                    <a:lnTo>
                      <a:pt x="173829" y="74908"/>
                    </a:lnTo>
                    <a:lnTo>
                      <a:pt x="195242" y="108270"/>
                    </a:lnTo>
                    <a:lnTo>
                      <a:pt x="203145" y="156215"/>
                    </a:lnTo>
                    <a:lnTo>
                      <a:pt x="196137" y="203055"/>
                    </a:lnTo>
                    <a:lnTo>
                      <a:pt x="176160" y="238365"/>
                    </a:lnTo>
                    <a:lnTo>
                      <a:pt x="144787" y="260649"/>
                    </a:lnTo>
                    <a:lnTo>
                      <a:pt x="103588" y="268410"/>
                    </a:lnTo>
                    <a:lnTo>
                      <a:pt x="216802" y="268410"/>
                    </a:lnTo>
                    <a:lnTo>
                      <a:pt x="230624" y="255128"/>
                    </a:lnTo>
                    <a:lnTo>
                      <a:pt x="253634" y="210228"/>
                    </a:lnTo>
                    <a:lnTo>
                      <a:pt x="262023" y="154278"/>
                    </a:lnTo>
                    <a:lnTo>
                      <a:pt x="255250" y="101760"/>
                    </a:lnTo>
                    <a:lnTo>
                      <a:pt x="235470" y="58940"/>
                    </a:lnTo>
                    <a:lnTo>
                      <a:pt x="225611" y="49077"/>
                    </a:lnTo>
                    <a:close/>
                  </a:path>
                </a:pathLst>
              </a:custGeom>
              <a:solidFill>
                <a:srgbClr val="000000"/>
              </a:solidFill>
            </p:spPr>
            <p:txBody>
              <a:bodyPr wrap="square" lIns="0" tIns="0" rIns="0" bIns="0" rtlCol="0"/>
              <a:lstStyle/>
              <a:p>
                <a:endParaRPr sz="373"/>
              </a:p>
            </p:txBody>
          </p:sp>
          <p:sp>
            <p:nvSpPr>
              <p:cNvPr id="25" name="object 16"/>
              <p:cNvSpPr/>
              <p:nvPr/>
            </p:nvSpPr>
            <p:spPr>
              <a:xfrm>
                <a:off x="1811786" y="10137552"/>
                <a:ext cx="57786" cy="419100"/>
              </a:xfrm>
              <a:custGeom>
                <a:avLst/>
                <a:gdLst/>
                <a:ahLst/>
                <a:cxnLst/>
                <a:rect l="l" t="t" r="r" b="b"/>
                <a:pathLst>
                  <a:path w="57785" h="419100">
                    <a:moveTo>
                      <a:pt x="57694" y="0"/>
                    </a:moveTo>
                    <a:lnTo>
                      <a:pt x="7300" y="28391"/>
                    </a:lnTo>
                    <a:lnTo>
                      <a:pt x="0" y="418678"/>
                    </a:lnTo>
                    <a:lnTo>
                      <a:pt x="57694" y="418678"/>
                    </a:lnTo>
                    <a:lnTo>
                      <a:pt x="57694" y="0"/>
                    </a:lnTo>
                    <a:close/>
                  </a:path>
                </a:pathLst>
              </a:custGeom>
              <a:solidFill>
                <a:srgbClr val="000000"/>
              </a:solidFill>
            </p:spPr>
            <p:txBody>
              <a:bodyPr wrap="square" lIns="0" tIns="0" rIns="0" bIns="0" rtlCol="0"/>
              <a:lstStyle/>
              <a:p>
                <a:endParaRPr sz="373"/>
              </a:p>
            </p:txBody>
          </p:sp>
          <p:sp>
            <p:nvSpPr>
              <p:cNvPr id="26" name="object 17"/>
              <p:cNvSpPr/>
              <p:nvPr/>
            </p:nvSpPr>
            <p:spPr>
              <a:xfrm>
                <a:off x="2987976" y="10239771"/>
                <a:ext cx="234949" cy="315595"/>
              </a:xfrm>
              <a:custGeom>
                <a:avLst/>
                <a:gdLst/>
                <a:ahLst/>
                <a:cxnLst/>
                <a:rect l="l" t="t" r="r" b="b"/>
                <a:pathLst>
                  <a:path w="234950" h="315595">
                    <a:moveTo>
                      <a:pt x="153817" y="0"/>
                    </a:moveTo>
                    <a:lnTo>
                      <a:pt x="99851" y="8509"/>
                    </a:lnTo>
                    <a:lnTo>
                      <a:pt x="56958" y="31980"/>
                    </a:lnTo>
                    <a:lnTo>
                      <a:pt x="25667" y="67326"/>
                    </a:lnTo>
                    <a:lnTo>
                      <a:pt x="6504" y="111459"/>
                    </a:lnTo>
                    <a:lnTo>
                      <a:pt x="0" y="161293"/>
                    </a:lnTo>
                    <a:lnTo>
                      <a:pt x="5872" y="209164"/>
                    </a:lnTo>
                    <a:lnTo>
                      <a:pt x="23411" y="251405"/>
                    </a:lnTo>
                    <a:lnTo>
                      <a:pt x="52494" y="285141"/>
                    </a:lnTo>
                    <a:lnTo>
                      <a:pt x="93001" y="307492"/>
                    </a:lnTo>
                    <a:lnTo>
                      <a:pt x="144812" y="315582"/>
                    </a:lnTo>
                    <a:lnTo>
                      <a:pt x="170285" y="313635"/>
                    </a:lnTo>
                    <a:lnTo>
                      <a:pt x="194130" y="308391"/>
                    </a:lnTo>
                    <a:lnTo>
                      <a:pt x="215776" y="300739"/>
                    </a:lnTo>
                    <a:lnTo>
                      <a:pt x="234652" y="291572"/>
                    </a:lnTo>
                    <a:lnTo>
                      <a:pt x="234652" y="268410"/>
                    </a:lnTo>
                    <a:lnTo>
                      <a:pt x="154518" y="268410"/>
                    </a:lnTo>
                    <a:lnTo>
                      <a:pt x="113165" y="259871"/>
                    </a:lnTo>
                    <a:lnTo>
                      <a:pt x="82739" y="236446"/>
                    </a:lnTo>
                    <a:lnTo>
                      <a:pt x="63957" y="201429"/>
                    </a:lnTo>
                    <a:lnTo>
                      <a:pt x="57537" y="158110"/>
                    </a:lnTo>
                    <a:lnTo>
                      <a:pt x="64335" y="113862"/>
                    </a:lnTo>
                    <a:lnTo>
                      <a:pt x="83802" y="78709"/>
                    </a:lnTo>
                    <a:lnTo>
                      <a:pt x="114544" y="55517"/>
                    </a:lnTo>
                    <a:lnTo>
                      <a:pt x="155168" y="47150"/>
                    </a:lnTo>
                    <a:lnTo>
                      <a:pt x="234305" y="47150"/>
                    </a:lnTo>
                    <a:lnTo>
                      <a:pt x="234652" y="19769"/>
                    </a:lnTo>
                    <a:lnTo>
                      <a:pt x="218124" y="12108"/>
                    </a:lnTo>
                    <a:lnTo>
                      <a:pt x="198856" y="5820"/>
                    </a:lnTo>
                    <a:lnTo>
                      <a:pt x="177277" y="1564"/>
                    </a:lnTo>
                    <a:lnTo>
                      <a:pt x="153817" y="0"/>
                    </a:lnTo>
                    <a:close/>
                  </a:path>
                  <a:path w="234950" h="315595">
                    <a:moveTo>
                      <a:pt x="234652" y="243165"/>
                    </a:moveTo>
                    <a:lnTo>
                      <a:pt x="218135" y="252216"/>
                    </a:lnTo>
                    <a:lnTo>
                      <a:pt x="198944" y="260327"/>
                    </a:lnTo>
                    <a:lnTo>
                      <a:pt x="177573" y="266168"/>
                    </a:lnTo>
                    <a:lnTo>
                      <a:pt x="154518" y="268410"/>
                    </a:lnTo>
                    <a:lnTo>
                      <a:pt x="234652" y="268410"/>
                    </a:lnTo>
                    <a:lnTo>
                      <a:pt x="234652" y="243165"/>
                    </a:lnTo>
                    <a:close/>
                  </a:path>
                  <a:path w="234950" h="315595">
                    <a:moveTo>
                      <a:pt x="234305" y="47150"/>
                    </a:moveTo>
                    <a:lnTo>
                      <a:pt x="155168" y="47150"/>
                    </a:lnTo>
                    <a:lnTo>
                      <a:pt x="178569" y="48856"/>
                    </a:lnTo>
                    <a:lnTo>
                      <a:pt x="199436" y="53614"/>
                    </a:lnTo>
                    <a:lnTo>
                      <a:pt x="217880" y="60884"/>
                    </a:lnTo>
                    <a:lnTo>
                      <a:pt x="234013" y="70123"/>
                    </a:lnTo>
                    <a:lnTo>
                      <a:pt x="234305" y="47150"/>
                    </a:lnTo>
                    <a:close/>
                  </a:path>
                </a:pathLst>
              </a:custGeom>
              <a:solidFill>
                <a:srgbClr val="000000"/>
              </a:solidFill>
            </p:spPr>
            <p:txBody>
              <a:bodyPr wrap="square" lIns="0" tIns="0" rIns="0" bIns="0" rtlCol="0"/>
              <a:lstStyle/>
              <a:p>
                <a:endParaRPr sz="373"/>
              </a:p>
            </p:txBody>
          </p:sp>
          <p:sp>
            <p:nvSpPr>
              <p:cNvPr id="27" name="object 18"/>
              <p:cNvSpPr/>
              <p:nvPr/>
            </p:nvSpPr>
            <p:spPr>
              <a:xfrm>
                <a:off x="2713841" y="10239766"/>
                <a:ext cx="256541" cy="315595"/>
              </a:xfrm>
              <a:custGeom>
                <a:avLst/>
                <a:gdLst/>
                <a:ahLst/>
                <a:cxnLst/>
                <a:rect l="l" t="t" r="r" b="b"/>
                <a:pathLst>
                  <a:path w="256539" h="315595">
                    <a:moveTo>
                      <a:pt x="129315" y="0"/>
                    </a:moveTo>
                    <a:lnTo>
                      <a:pt x="85823" y="7718"/>
                    </a:lnTo>
                    <a:lnTo>
                      <a:pt x="49997" y="29327"/>
                    </a:lnTo>
                    <a:lnTo>
                      <a:pt x="22986" y="62504"/>
                    </a:lnTo>
                    <a:lnTo>
                      <a:pt x="5937" y="104928"/>
                    </a:lnTo>
                    <a:lnTo>
                      <a:pt x="0" y="154278"/>
                    </a:lnTo>
                    <a:lnTo>
                      <a:pt x="5569" y="203372"/>
                    </a:lnTo>
                    <a:lnTo>
                      <a:pt x="22526" y="247416"/>
                    </a:lnTo>
                    <a:lnTo>
                      <a:pt x="51243" y="283042"/>
                    </a:lnTo>
                    <a:lnTo>
                      <a:pt x="92094" y="306886"/>
                    </a:lnTo>
                    <a:lnTo>
                      <a:pt x="145451" y="315582"/>
                    </a:lnTo>
                    <a:lnTo>
                      <a:pt x="169547" y="313910"/>
                    </a:lnTo>
                    <a:lnTo>
                      <a:pt x="193682" y="309042"/>
                    </a:lnTo>
                    <a:lnTo>
                      <a:pt x="216753" y="301198"/>
                    </a:lnTo>
                    <a:lnTo>
                      <a:pt x="237657" y="290598"/>
                    </a:lnTo>
                    <a:lnTo>
                      <a:pt x="237657" y="267771"/>
                    </a:lnTo>
                    <a:lnTo>
                      <a:pt x="156445" y="267771"/>
                    </a:lnTo>
                    <a:lnTo>
                      <a:pt x="115486" y="260060"/>
                    </a:lnTo>
                    <a:lnTo>
                      <a:pt x="85261" y="239083"/>
                    </a:lnTo>
                    <a:lnTo>
                      <a:pt x="66554" y="208070"/>
                    </a:lnTo>
                    <a:lnTo>
                      <a:pt x="60144" y="170256"/>
                    </a:lnTo>
                    <a:lnTo>
                      <a:pt x="255992" y="170256"/>
                    </a:lnTo>
                    <a:lnTo>
                      <a:pt x="255992" y="155565"/>
                    </a:lnTo>
                    <a:lnTo>
                      <a:pt x="252910" y="126226"/>
                    </a:lnTo>
                    <a:lnTo>
                      <a:pt x="59464" y="126226"/>
                    </a:lnTo>
                    <a:lnTo>
                      <a:pt x="64278" y="95386"/>
                    </a:lnTo>
                    <a:lnTo>
                      <a:pt x="78069" y="69804"/>
                    </a:lnTo>
                    <a:lnTo>
                      <a:pt x="99861" y="52349"/>
                    </a:lnTo>
                    <a:lnTo>
                      <a:pt x="128676" y="45893"/>
                    </a:lnTo>
                    <a:lnTo>
                      <a:pt x="222989" y="45893"/>
                    </a:lnTo>
                    <a:lnTo>
                      <a:pt x="208532" y="27763"/>
                    </a:lnTo>
                    <a:lnTo>
                      <a:pt x="173269" y="7180"/>
                    </a:lnTo>
                    <a:lnTo>
                      <a:pt x="129315" y="0"/>
                    </a:lnTo>
                    <a:close/>
                  </a:path>
                  <a:path w="256539" h="315595">
                    <a:moveTo>
                      <a:pt x="237657" y="242599"/>
                    </a:moveTo>
                    <a:lnTo>
                      <a:pt x="192144" y="262837"/>
                    </a:lnTo>
                    <a:lnTo>
                      <a:pt x="156445" y="267771"/>
                    </a:lnTo>
                    <a:lnTo>
                      <a:pt x="237657" y="267771"/>
                    </a:lnTo>
                    <a:lnTo>
                      <a:pt x="237657" y="242599"/>
                    </a:lnTo>
                    <a:close/>
                  </a:path>
                  <a:path w="256539" h="315595">
                    <a:moveTo>
                      <a:pt x="222989" y="45893"/>
                    </a:moveTo>
                    <a:lnTo>
                      <a:pt x="128676" y="45893"/>
                    </a:lnTo>
                    <a:lnTo>
                      <a:pt x="157886" y="52978"/>
                    </a:lnTo>
                    <a:lnTo>
                      <a:pt x="178677" y="71480"/>
                    </a:lnTo>
                    <a:lnTo>
                      <a:pt x="191109" y="97272"/>
                    </a:lnTo>
                    <a:lnTo>
                      <a:pt x="195240" y="126226"/>
                    </a:lnTo>
                    <a:lnTo>
                      <a:pt x="252910" y="126226"/>
                    </a:lnTo>
                    <a:lnTo>
                      <a:pt x="250512" y="103392"/>
                    </a:lnTo>
                    <a:lnTo>
                      <a:pt x="234486" y="60313"/>
                    </a:lnTo>
                    <a:lnTo>
                      <a:pt x="222989" y="45893"/>
                    </a:lnTo>
                    <a:close/>
                  </a:path>
                </a:pathLst>
              </a:custGeom>
              <a:solidFill>
                <a:srgbClr val="000000"/>
              </a:solidFill>
            </p:spPr>
            <p:txBody>
              <a:bodyPr wrap="square" lIns="0" tIns="0" rIns="0" bIns="0" rtlCol="0"/>
              <a:lstStyle/>
              <a:p>
                <a:endParaRPr sz="373"/>
              </a:p>
            </p:txBody>
          </p:sp>
          <p:sp>
            <p:nvSpPr>
              <p:cNvPr id="28" name="object 19"/>
              <p:cNvSpPr/>
              <p:nvPr/>
            </p:nvSpPr>
            <p:spPr>
              <a:xfrm>
                <a:off x="1912424" y="10241064"/>
                <a:ext cx="260349" cy="314960"/>
              </a:xfrm>
              <a:custGeom>
                <a:avLst/>
                <a:gdLst/>
                <a:ahLst/>
                <a:cxnLst/>
                <a:rect l="l" t="t" r="r" b="b"/>
                <a:pathLst>
                  <a:path w="260350" h="314959">
                    <a:moveTo>
                      <a:pt x="247863" y="52836"/>
                    </a:moveTo>
                    <a:lnTo>
                      <a:pt x="149440" y="52836"/>
                    </a:lnTo>
                    <a:lnTo>
                      <a:pt x="176749" y="59715"/>
                    </a:lnTo>
                    <a:lnTo>
                      <a:pt x="192348" y="77539"/>
                    </a:lnTo>
                    <a:lnTo>
                      <a:pt x="199393" y="102090"/>
                    </a:lnTo>
                    <a:lnTo>
                      <a:pt x="201040" y="129147"/>
                    </a:lnTo>
                    <a:lnTo>
                      <a:pt x="201040" y="314953"/>
                    </a:lnTo>
                    <a:lnTo>
                      <a:pt x="260337" y="314838"/>
                    </a:lnTo>
                    <a:lnTo>
                      <a:pt x="259845" y="109588"/>
                    </a:lnTo>
                    <a:lnTo>
                      <a:pt x="251799" y="59166"/>
                    </a:lnTo>
                    <a:lnTo>
                      <a:pt x="247863" y="52836"/>
                    </a:lnTo>
                    <a:close/>
                  </a:path>
                  <a:path w="260350" h="314959">
                    <a:moveTo>
                      <a:pt x="56396" y="6230"/>
                    </a:moveTo>
                    <a:lnTo>
                      <a:pt x="0" y="6230"/>
                    </a:lnTo>
                    <a:lnTo>
                      <a:pt x="0" y="314587"/>
                    </a:lnTo>
                    <a:lnTo>
                      <a:pt x="58197" y="314587"/>
                    </a:lnTo>
                    <a:lnTo>
                      <a:pt x="58197" y="95881"/>
                    </a:lnTo>
                    <a:lnTo>
                      <a:pt x="77935" y="80343"/>
                    </a:lnTo>
                    <a:lnTo>
                      <a:pt x="100092" y="66525"/>
                    </a:lnTo>
                    <a:lnTo>
                      <a:pt x="124112" y="56624"/>
                    </a:lnTo>
                    <a:lnTo>
                      <a:pt x="149440" y="52836"/>
                    </a:lnTo>
                    <a:lnTo>
                      <a:pt x="247863" y="52836"/>
                    </a:lnTo>
                    <a:lnTo>
                      <a:pt x="241796" y="43077"/>
                    </a:lnTo>
                    <a:lnTo>
                      <a:pt x="56207" y="43077"/>
                    </a:lnTo>
                    <a:lnTo>
                      <a:pt x="56396" y="6230"/>
                    </a:lnTo>
                    <a:close/>
                  </a:path>
                  <a:path w="260350" h="314959">
                    <a:moveTo>
                      <a:pt x="167303" y="0"/>
                    </a:moveTo>
                    <a:lnTo>
                      <a:pt x="136542" y="3057"/>
                    </a:lnTo>
                    <a:lnTo>
                      <a:pt x="108779" y="11741"/>
                    </a:lnTo>
                    <a:lnTo>
                      <a:pt x="82504" y="25324"/>
                    </a:lnTo>
                    <a:lnTo>
                      <a:pt x="56207" y="43077"/>
                    </a:lnTo>
                    <a:lnTo>
                      <a:pt x="241796" y="43077"/>
                    </a:lnTo>
                    <a:lnTo>
                      <a:pt x="230678" y="25195"/>
                    </a:lnTo>
                    <a:lnTo>
                      <a:pt x="201005" y="6023"/>
                    </a:lnTo>
                    <a:lnTo>
                      <a:pt x="167303" y="0"/>
                    </a:lnTo>
                    <a:close/>
                  </a:path>
                </a:pathLst>
              </a:custGeom>
              <a:solidFill>
                <a:srgbClr val="000000"/>
              </a:solidFill>
            </p:spPr>
            <p:txBody>
              <a:bodyPr wrap="square" lIns="0" tIns="0" rIns="0" bIns="0" rtlCol="0"/>
              <a:lstStyle/>
              <a:p>
                <a:endParaRPr sz="373"/>
              </a:p>
            </p:txBody>
          </p:sp>
          <p:sp>
            <p:nvSpPr>
              <p:cNvPr id="29" name="object 20"/>
              <p:cNvSpPr/>
              <p:nvPr/>
            </p:nvSpPr>
            <p:spPr>
              <a:xfrm>
                <a:off x="934292" y="10037662"/>
                <a:ext cx="748031" cy="519430"/>
              </a:xfrm>
              <a:custGeom>
                <a:avLst/>
                <a:gdLst/>
                <a:ahLst/>
                <a:cxnLst/>
                <a:rect l="l" t="t" r="r" b="b"/>
                <a:pathLst>
                  <a:path w="748030" h="519429">
                    <a:moveTo>
                      <a:pt x="747547" y="0"/>
                    </a:moveTo>
                    <a:lnTo>
                      <a:pt x="230" y="0"/>
                    </a:lnTo>
                    <a:lnTo>
                      <a:pt x="230" y="178"/>
                    </a:lnTo>
                    <a:lnTo>
                      <a:pt x="0" y="178"/>
                    </a:lnTo>
                    <a:lnTo>
                      <a:pt x="0" y="518696"/>
                    </a:lnTo>
                    <a:lnTo>
                      <a:pt x="230" y="518696"/>
                    </a:lnTo>
                    <a:lnTo>
                      <a:pt x="230" y="519188"/>
                    </a:lnTo>
                    <a:lnTo>
                      <a:pt x="375862" y="519188"/>
                    </a:lnTo>
                    <a:lnTo>
                      <a:pt x="375862" y="406270"/>
                    </a:lnTo>
                    <a:lnTo>
                      <a:pt x="150299" y="406270"/>
                    </a:lnTo>
                    <a:lnTo>
                      <a:pt x="150513" y="398763"/>
                    </a:lnTo>
                    <a:lnTo>
                      <a:pt x="150683" y="391242"/>
                    </a:lnTo>
                    <a:lnTo>
                      <a:pt x="150811" y="383709"/>
                    </a:lnTo>
                    <a:lnTo>
                      <a:pt x="150929" y="361141"/>
                    </a:lnTo>
                    <a:lnTo>
                      <a:pt x="150796" y="346156"/>
                    </a:lnTo>
                    <a:lnTo>
                      <a:pt x="150498" y="331212"/>
                    </a:lnTo>
                    <a:lnTo>
                      <a:pt x="150038" y="316335"/>
                    </a:lnTo>
                    <a:lnTo>
                      <a:pt x="375056" y="316283"/>
                    </a:lnTo>
                    <a:lnTo>
                      <a:pt x="375056" y="203449"/>
                    </a:lnTo>
                    <a:lnTo>
                      <a:pt x="149995" y="203449"/>
                    </a:lnTo>
                    <a:lnTo>
                      <a:pt x="150498" y="188528"/>
                    </a:lnTo>
                    <a:lnTo>
                      <a:pt x="150796" y="173578"/>
                    </a:lnTo>
                    <a:lnTo>
                      <a:pt x="150811" y="136033"/>
                    </a:lnTo>
                    <a:lnTo>
                      <a:pt x="150683" y="128299"/>
                    </a:lnTo>
                    <a:lnTo>
                      <a:pt x="150513" y="120173"/>
                    </a:lnTo>
                    <a:lnTo>
                      <a:pt x="150299" y="111452"/>
                    </a:lnTo>
                    <a:lnTo>
                      <a:pt x="634818" y="111452"/>
                    </a:lnTo>
                    <a:lnTo>
                      <a:pt x="678707" y="102673"/>
                    </a:lnTo>
                    <a:lnTo>
                      <a:pt x="714538" y="78755"/>
                    </a:lnTo>
                    <a:lnTo>
                      <a:pt x="738692" y="43322"/>
                    </a:lnTo>
                    <a:lnTo>
                      <a:pt x="747547" y="0"/>
                    </a:lnTo>
                    <a:close/>
                  </a:path>
                  <a:path w="748030" h="519429">
                    <a:moveTo>
                      <a:pt x="568286" y="111452"/>
                    </a:moveTo>
                    <a:lnTo>
                      <a:pt x="413599" y="111452"/>
                    </a:lnTo>
                    <a:lnTo>
                      <a:pt x="413599" y="518696"/>
                    </a:lnTo>
                    <a:lnTo>
                      <a:pt x="462497" y="510917"/>
                    </a:lnTo>
                    <a:lnTo>
                      <a:pt x="504960" y="489258"/>
                    </a:lnTo>
                    <a:lnTo>
                      <a:pt x="538444" y="456232"/>
                    </a:lnTo>
                    <a:lnTo>
                      <a:pt x="560401" y="414353"/>
                    </a:lnTo>
                    <a:lnTo>
                      <a:pt x="568286" y="366135"/>
                    </a:lnTo>
                    <a:lnTo>
                      <a:pt x="568286" y="111452"/>
                    </a:lnTo>
                    <a:close/>
                  </a:path>
                  <a:path w="748030" h="519429">
                    <a:moveTo>
                      <a:pt x="375862" y="401736"/>
                    </a:moveTo>
                    <a:lnTo>
                      <a:pt x="370240" y="402888"/>
                    </a:lnTo>
                    <a:lnTo>
                      <a:pt x="364062" y="403453"/>
                    </a:lnTo>
                    <a:lnTo>
                      <a:pt x="356334" y="404301"/>
                    </a:lnTo>
                    <a:lnTo>
                      <a:pt x="349109" y="404657"/>
                    </a:lnTo>
                    <a:lnTo>
                      <a:pt x="317864" y="405851"/>
                    </a:lnTo>
                    <a:lnTo>
                      <a:pt x="310535" y="406008"/>
                    </a:lnTo>
                    <a:lnTo>
                      <a:pt x="150299" y="406270"/>
                    </a:lnTo>
                    <a:lnTo>
                      <a:pt x="375862" y="406270"/>
                    </a:lnTo>
                    <a:lnTo>
                      <a:pt x="375862" y="401736"/>
                    </a:lnTo>
                    <a:close/>
                  </a:path>
                  <a:path w="748030" h="519429">
                    <a:moveTo>
                      <a:pt x="375056" y="316283"/>
                    </a:moveTo>
                    <a:lnTo>
                      <a:pt x="149995" y="316283"/>
                    </a:lnTo>
                    <a:lnTo>
                      <a:pt x="150518" y="316335"/>
                    </a:lnTo>
                    <a:lnTo>
                      <a:pt x="375056" y="316335"/>
                    </a:lnTo>
                    <a:close/>
                  </a:path>
                  <a:path w="748030" h="519429">
                    <a:moveTo>
                      <a:pt x="375056" y="203428"/>
                    </a:moveTo>
                    <a:lnTo>
                      <a:pt x="150518" y="203428"/>
                    </a:lnTo>
                    <a:lnTo>
                      <a:pt x="149995" y="203449"/>
                    </a:lnTo>
                    <a:lnTo>
                      <a:pt x="375056" y="203449"/>
                    </a:lnTo>
                    <a:close/>
                  </a:path>
                </a:pathLst>
              </a:custGeom>
              <a:solidFill>
                <a:srgbClr val="000000"/>
              </a:solidFill>
            </p:spPr>
            <p:txBody>
              <a:bodyPr wrap="square" lIns="0" tIns="0" rIns="0" bIns="0" rtlCol="0"/>
              <a:lstStyle/>
              <a:p>
                <a:endParaRPr sz="373"/>
              </a:p>
            </p:txBody>
          </p:sp>
          <p:sp>
            <p:nvSpPr>
              <p:cNvPr id="30" name="object 21"/>
              <p:cNvSpPr/>
              <p:nvPr/>
            </p:nvSpPr>
            <p:spPr>
              <a:xfrm>
                <a:off x="742032" y="10037530"/>
                <a:ext cx="154940" cy="519430"/>
              </a:xfrm>
              <a:custGeom>
                <a:avLst/>
                <a:gdLst/>
                <a:ahLst/>
                <a:cxnLst/>
                <a:rect l="l" t="t" r="r" b="b"/>
                <a:pathLst>
                  <a:path w="154940" h="519429">
                    <a:moveTo>
                      <a:pt x="154644" y="0"/>
                    </a:moveTo>
                    <a:lnTo>
                      <a:pt x="105763" y="7776"/>
                    </a:lnTo>
                    <a:lnTo>
                      <a:pt x="63312" y="29431"/>
                    </a:lnTo>
                    <a:lnTo>
                      <a:pt x="29836" y="62452"/>
                    </a:lnTo>
                    <a:lnTo>
                      <a:pt x="7883" y="104329"/>
                    </a:lnTo>
                    <a:lnTo>
                      <a:pt x="0" y="152550"/>
                    </a:lnTo>
                    <a:lnTo>
                      <a:pt x="0" y="519240"/>
                    </a:lnTo>
                    <a:lnTo>
                      <a:pt x="154644" y="519240"/>
                    </a:lnTo>
                    <a:lnTo>
                      <a:pt x="154644" y="0"/>
                    </a:lnTo>
                    <a:close/>
                  </a:path>
                </a:pathLst>
              </a:custGeom>
              <a:solidFill>
                <a:srgbClr val="000000"/>
              </a:solidFill>
            </p:spPr>
            <p:txBody>
              <a:bodyPr wrap="square" lIns="0" tIns="0" rIns="0" bIns="0" rtlCol="0"/>
              <a:lstStyle/>
              <a:p>
                <a:endParaRPr sz="373"/>
              </a:p>
            </p:txBody>
          </p:sp>
          <p:sp>
            <p:nvSpPr>
              <p:cNvPr id="31" name="object 22"/>
              <p:cNvSpPr/>
              <p:nvPr/>
            </p:nvSpPr>
            <p:spPr>
              <a:xfrm>
                <a:off x="3371531" y="10137068"/>
                <a:ext cx="245745" cy="416558"/>
              </a:xfrm>
              <a:custGeom>
                <a:avLst/>
                <a:gdLst/>
                <a:ahLst/>
                <a:cxnLst/>
                <a:rect l="l" t="t" r="r" b="b"/>
                <a:pathLst>
                  <a:path w="245745" h="416559">
                    <a:moveTo>
                      <a:pt x="153880" y="0"/>
                    </a:moveTo>
                    <a:lnTo>
                      <a:pt x="91641" y="0"/>
                    </a:lnTo>
                    <a:lnTo>
                      <a:pt x="0" y="416133"/>
                    </a:lnTo>
                    <a:lnTo>
                      <a:pt x="44951" y="416133"/>
                    </a:lnTo>
                    <a:lnTo>
                      <a:pt x="69736" y="292786"/>
                    </a:lnTo>
                    <a:lnTo>
                      <a:pt x="218357" y="292786"/>
                    </a:lnTo>
                    <a:lnTo>
                      <a:pt x="209980" y="254746"/>
                    </a:lnTo>
                    <a:lnTo>
                      <a:pt x="76070" y="254746"/>
                    </a:lnTo>
                    <a:lnTo>
                      <a:pt x="122184" y="31119"/>
                    </a:lnTo>
                    <a:lnTo>
                      <a:pt x="160733" y="31119"/>
                    </a:lnTo>
                    <a:lnTo>
                      <a:pt x="153880" y="0"/>
                    </a:lnTo>
                    <a:close/>
                  </a:path>
                  <a:path w="245745" h="416559">
                    <a:moveTo>
                      <a:pt x="218357" y="292786"/>
                    </a:moveTo>
                    <a:lnTo>
                      <a:pt x="175785" y="292786"/>
                    </a:lnTo>
                    <a:lnTo>
                      <a:pt x="200580" y="416133"/>
                    </a:lnTo>
                    <a:lnTo>
                      <a:pt x="245521" y="416133"/>
                    </a:lnTo>
                    <a:lnTo>
                      <a:pt x="218357" y="292786"/>
                    </a:lnTo>
                    <a:close/>
                  </a:path>
                  <a:path w="245745" h="416559">
                    <a:moveTo>
                      <a:pt x="160733" y="31119"/>
                    </a:moveTo>
                    <a:lnTo>
                      <a:pt x="123336" y="31119"/>
                    </a:lnTo>
                    <a:lnTo>
                      <a:pt x="169450" y="254746"/>
                    </a:lnTo>
                    <a:lnTo>
                      <a:pt x="209980" y="254746"/>
                    </a:lnTo>
                    <a:lnTo>
                      <a:pt x="160733" y="31119"/>
                    </a:lnTo>
                    <a:close/>
                  </a:path>
                </a:pathLst>
              </a:custGeom>
              <a:solidFill>
                <a:srgbClr val="000000"/>
              </a:solidFill>
            </p:spPr>
            <p:txBody>
              <a:bodyPr wrap="square" lIns="0" tIns="0" rIns="0" bIns="0" rtlCol="0"/>
              <a:lstStyle/>
              <a:p>
                <a:endParaRPr sz="373"/>
              </a:p>
            </p:txBody>
          </p:sp>
          <p:sp>
            <p:nvSpPr>
              <p:cNvPr id="32" name="object 23"/>
              <p:cNvSpPr/>
              <p:nvPr/>
            </p:nvSpPr>
            <p:spPr>
              <a:xfrm>
                <a:off x="3663706" y="10247726"/>
                <a:ext cx="173355" cy="306070"/>
              </a:xfrm>
              <a:custGeom>
                <a:avLst/>
                <a:gdLst/>
                <a:ahLst/>
                <a:cxnLst/>
                <a:rect l="l" t="t" r="r" b="b"/>
                <a:pathLst>
                  <a:path w="173354" h="306070">
                    <a:moveTo>
                      <a:pt x="39192" y="5779"/>
                    </a:moveTo>
                    <a:lnTo>
                      <a:pt x="0" y="5779"/>
                    </a:lnTo>
                    <a:lnTo>
                      <a:pt x="0" y="305477"/>
                    </a:lnTo>
                    <a:lnTo>
                      <a:pt x="41496" y="305477"/>
                    </a:lnTo>
                    <a:lnTo>
                      <a:pt x="41496" y="71474"/>
                    </a:lnTo>
                    <a:lnTo>
                      <a:pt x="55352" y="55987"/>
                    </a:lnTo>
                    <a:lnTo>
                      <a:pt x="69372" y="44387"/>
                    </a:lnTo>
                    <a:lnTo>
                      <a:pt x="80745" y="38616"/>
                    </a:lnTo>
                    <a:lnTo>
                      <a:pt x="39192" y="38616"/>
                    </a:lnTo>
                    <a:lnTo>
                      <a:pt x="39192" y="5779"/>
                    </a:lnTo>
                    <a:close/>
                  </a:path>
                  <a:path w="173354" h="306070">
                    <a:moveTo>
                      <a:pt x="164124" y="34585"/>
                    </a:moveTo>
                    <a:lnTo>
                      <a:pt x="98551" y="34585"/>
                    </a:lnTo>
                    <a:lnTo>
                      <a:pt x="113165" y="37466"/>
                    </a:lnTo>
                    <a:lnTo>
                      <a:pt x="123407" y="46400"/>
                    </a:lnTo>
                    <a:lnTo>
                      <a:pt x="129435" y="61818"/>
                    </a:lnTo>
                    <a:lnTo>
                      <a:pt x="131409" y="84154"/>
                    </a:lnTo>
                    <a:lnTo>
                      <a:pt x="131409" y="305477"/>
                    </a:lnTo>
                    <a:lnTo>
                      <a:pt x="172895" y="305477"/>
                    </a:lnTo>
                    <a:lnTo>
                      <a:pt x="172895" y="78395"/>
                    </a:lnTo>
                    <a:lnTo>
                      <a:pt x="168464" y="42804"/>
                    </a:lnTo>
                    <a:lnTo>
                      <a:pt x="164124" y="34585"/>
                    </a:lnTo>
                    <a:close/>
                  </a:path>
                  <a:path w="173354" h="306070">
                    <a:moveTo>
                      <a:pt x="107200" y="0"/>
                    </a:moveTo>
                    <a:lnTo>
                      <a:pt x="91058" y="3197"/>
                    </a:lnTo>
                    <a:lnTo>
                      <a:pt x="73188" y="11745"/>
                    </a:lnTo>
                    <a:lnTo>
                      <a:pt x="55322" y="24074"/>
                    </a:lnTo>
                    <a:lnTo>
                      <a:pt x="39192" y="38616"/>
                    </a:lnTo>
                    <a:lnTo>
                      <a:pt x="80745" y="38616"/>
                    </a:lnTo>
                    <a:lnTo>
                      <a:pt x="83717" y="37108"/>
                    </a:lnTo>
                    <a:lnTo>
                      <a:pt x="98551" y="34585"/>
                    </a:lnTo>
                    <a:lnTo>
                      <a:pt x="164124" y="34585"/>
                    </a:lnTo>
                    <a:lnTo>
                      <a:pt x="155605" y="18449"/>
                    </a:lnTo>
                    <a:lnTo>
                      <a:pt x="134967" y="4468"/>
                    </a:lnTo>
                    <a:lnTo>
                      <a:pt x="107200" y="0"/>
                    </a:lnTo>
                    <a:close/>
                  </a:path>
                </a:pathLst>
              </a:custGeom>
              <a:solidFill>
                <a:srgbClr val="000000"/>
              </a:solidFill>
            </p:spPr>
            <p:txBody>
              <a:bodyPr wrap="square" lIns="0" tIns="0" rIns="0" bIns="0" rtlCol="0"/>
              <a:lstStyle/>
              <a:p>
                <a:endParaRPr sz="373"/>
              </a:p>
            </p:txBody>
          </p:sp>
          <p:sp>
            <p:nvSpPr>
              <p:cNvPr id="33" name="object 24"/>
              <p:cNvSpPr/>
              <p:nvPr/>
            </p:nvSpPr>
            <p:spPr>
              <a:xfrm>
                <a:off x="3891103" y="10247729"/>
                <a:ext cx="190501" cy="311785"/>
              </a:xfrm>
              <a:custGeom>
                <a:avLst/>
                <a:gdLst/>
                <a:ahLst/>
                <a:cxnLst/>
                <a:rect l="l" t="t" r="r" b="b"/>
                <a:pathLst>
                  <a:path w="190500" h="311784">
                    <a:moveTo>
                      <a:pt x="167805" y="34585"/>
                    </a:moveTo>
                    <a:lnTo>
                      <a:pt x="97976" y="34585"/>
                    </a:lnTo>
                    <a:lnTo>
                      <a:pt x="115916" y="38339"/>
                    </a:lnTo>
                    <a:lnTo>
                      <a:pt x="129535" y="49063"/>
                    </a:lnTo>
                    <a:lnTo>
                      <a:pt x="138183" y="65948"/>
                    </a:lnTo>
                    <a:lnTo>
                      <a:pt x="141131" y="87609"/>
                    </a:lnTo>
                    <a:lnTo>
                      <a:pt x="141210" y="109514"/>
                    </a:lnTo>
                    <a:lnTo>
                      <a:pt x="93856" y="124183"/>
                    </a:lnTo>
                    <a:lnTo>
                      <a:pt x="48125" y="149063"/>
                    </a:lnTo>
                    <a:lnTo>
                      <a:pt x="13634" y="185291"/>
                    </a:lnTo>
                    <a:lnTo>
                      <a:pt x="0" y="234003"/>
                    </a:lnTo>
                    <a:lnTo>
                      <a:pt x="5591" y="266011"/>
                    </a:lnTo>
                    <a:lnTo>
                      <a:pt x="21395" y="290344"/>
                    </a:lnTo>
                    <a:lnTo>
                      <a:pt x="45954" y="305815"/>
                    </a:lnTo>
                    <a:lnTo>
                      <a:pt x="77809" y="311236"/>
                    </a:lnTo>
                    <a:lnTo>
                      <a:pt x="93561" y="308643"/>
                    </a:lnTo>
                    <a:lnTo>
                      <a:pt x="110877" y="301726"/>
                    </a:lnTo>
                    <a:lnTo>
                      <a:pt x="127653" y="291782"/>
                    </a:lnTo>
                    <a:lnTo>
                      <a:pt x="141786" y="280106"/>
                    </a:lnTo>
                    <a:lnTo>
                      <a:pt x="184119" y="280106"/>
                    </a:lnTo>
                    <a:lnTo>
                      <a:pt x="183783" y="276651"/>
                    </a:lnTo>
                    <a:lnTo>
                      <a:pt x="84154" y="276651"/>
                    </a:lnTo>
                    <a:lnTo>
                      <a:pt x="64839" y="273418"/>
                    </a:lnTo>
                    <a:lnTo>
                      <a:pt x="51584" y="264188"/>
                    </a:lnTo>
                    <a:lnTo>
                      <a:pt x="43953" y="249660"/>
                    </a:lnTo>
                    <a:lnTo>
                      <a:pt x="41506" y="230537"/>
                    </a:lnTo>
                    <a:lnTo>
                      <a:pt x="51735" y="198715"/>
                    </a:lnTo>
                    <a:lnTo>
                      <a:pt x="77093" y="173914"/>
                    </a:lnTo>
                    <a:lnTo>
                      <a:pt x="109583" y="155811"/>
                    </a:lnTo>
                    <a:lnTo>
                      <a:pt x="141210" y="144079"/>
                    </a:lnTo>
                    <a:lnTo>
                      <a:pt x="182706" y="144079"/>
                    </a:lnTo>
                    <a:lnTo>
                      <a:pt x="182706" y="85306"/>
                    </a:lnTo>
                    <a:lnTo>
                      <a:pt x="177069" y="49607"/>
                    </a:lnTo>
                    <a:lnTo>
                      <a:pt x="167805" y="34585"/>
                    </a:lnTo>
                    <a:close/>
                  </a:path>
                  <a:path w="190500" h="311784">
                    <a:moveTo>
                      <a:pt x="184119" y="280106"/>
                    </a:moveTo>
                    <a:lnTo>
                      <a:pt x="141786" y="280106"/>
                    </a:lnTo>
                    <a:lnTo>
                      <a:pt x="146969" y="305467"/>
                    </a:lnTo>
                    <a:lnTo>
                      <a:pt x="190193" y="305467"/>
                    </a:lnTo>
                    <a:lnTo>
                      <a:pt x="187079" y="297991"/>
                    </a:lnTo>
                    <a:lnTo>
                      <a:pt x="184722" y="286305"/>
                    </a:lnTo>
                    <a:lnTo>
                      <a:pt x="184119" y="280106"/>
                    </a:lnTo>
                    <a:close/>
                  </a:path>
                  <a:path w="190500" h="311784">
                    <a:moveTo>
                      <a:pt x="182706" y="144079"/>
                    </a:moveTo>
                    <a:lnTo>
                      <a:pt x="141210" y="144079"/>
                    </a:lnTo>
                    <a:lnTo>
                      <a:pt x="141210" y="245531"/>
                    </a:lnTo>
                    <a:lnTo>
                      <a:pt x="129129" y="256958"/>
                    </a:lnTo>
                    <a:lnTo>
                      <a:pt x="115486" y="266926"/>
                    </a:lnTo>
                    <a:lnTo>
                      <a:pt x="100440" y="273976"/>
                    </a:lnTo>
                    <a:lnTo>
                      <a:pt x="84154" y="276651"/>
                    </a:lnTo>
                    <a:lnTo>
                      <a:pt x="183783" y="276651"/>
                    </a:lnTo>
                    <a:lnTo>
                      <a:pt x="183228" y="270943"/>
                    </a:lnTo>
                    <a:lnTo>
                      <a:pt x="182706" y="252442"/>
                    </a:lnTo>
                    <a:lnTo>
                      <a:pt x="182706" y="144079"/>
                    </a:lnTo>
                    <a:close/>
                  </a:path>
                  <a:path w="190500" h="311784">
                    <a:moveTo>
                      <a:pt x="96834" y="0"/>
                    </a:moveTo>
                    <a:lnTo>
                      <a:pt x="61729" y="7042"/>
                    </a:lnTo>
                    <a:lnTo>
                      <a:pt x="35591" y="26080"/>
                    </a:lnTo>
                    <a:lnTo>
                      <a:pt x="17882" y="53980"/>
                    </a:lnTo>
                    <a:lnTo>
                      <a:pt x="8062" y="87609"/>
                    </a:lnTo>
                    <a:lnTo>
                      <a:pt x="46103" y="93368"/>
                    </a:lnTo>
                    <a:lnTo>
                      <a:pt x="51694" y="72756"/>
                    </a:lnTo>
                    <a:lnTo>
                      <a:pt x="61881" y="53819"/>
                    </a:lnTo>
                    <a:lnTo>
                      <a:pt x="77147" y="39960"/>
                    </a:lnTo>
                    <a:lnTo>
                      <a:pt x="97976" y="34585"/>
                    </a:lnTo>
                    <a:lnTo>
                      <a:pt x="167805" y="34585"/>
                    </a:lnTo>
                    <a:lnTo>
                      <a:pt x="160518" y="22768"/>
                    </a:lnTo>
                    <a:lnTo>
                      <a:pt x="133593" y="5872"/>
                    </a:lnTo>
                    <a:lnTo>
                      <a:pt x="96834" y="0"/>
                    </a:lnTo>
                    <a:close/>
                  </a:path>
                </a:pathLst>
              </a:custGeom>
              <a:solidFill>
                <a:srgbClr val="000000"/>
              </a:solidFill>
            </p:spPr>
            <p:txBody>
              <a:bodyPr wrap="square" lIns="0" tIns="0" rIns="0" bIns="0" rtlCol="0"/>
              <a:lstStyle/>
              <a:p>
                <a:endParaRPr sz="373"/>
              </a:p>
            </p:txBody>
          </p:sp>
          <p:sp>
            <p:nvSpPr>
              <p:cNvPr id="34" name="object 25"/>
              <p:cNvSpPr/>
              <p:nvPr/>
            </p:nvSpPr>
            <p:spPr>
              <a:xfrm>
                <a:off x="4168637" y="10137064"/>
                <a:ext cx="0" cy="416558"/>
              </a:xfrm>
              <a:custGeom>
                <a:avLst/>
                <a:gdLst/>
                <a:ahLst/>
                <a:cxnLst/>
                <a:rect l="l" t="t" r="r" b="b"/>
                <a:pathLst>
                  <a:path h="416559">
                    <a:moveTo>
                      <a:pt x="0" y="0"/>
                    </a:moveTo>
                    <a:lnTo>
                      <a:pt x="0" y="416133"/>
                    </a:lnTo>
                  </a:path>
                </a:pathLst>
              </a:custGeom>
              <a:ln w="41506">
                <a:solidFill>
                  <a:srgbClr val="000000"/>
                </a:solidFill>
              </a:ln>
            </p:spPr>
            <p:txBody>
              <a:bodyPr wrap="square" lIns="0" tIns="0" rIns="0" bIns="0" rtlCol="0"/>
              <a:lstStyle/>
              <a:p>
                <a:endParaRPr sz="373"/>
              </a:p>
            </p:txBody>
          </p:sp>
          <p:sp>
            <p:nvSpPr>
              <p:cNvPr id="35" name="object 26"/>
              <p:cNvSpPr/>
              <p:nvPr/>
            </p:nvSpPr>
            <p:spPr>
              <a:xfrm>
                <a:off x="4233747" y="10253506"/>
                <a:ext cx="189230" cy="398146"/>
              </a:xfrm>
              <a:custGeom>
                <a:avLst/>
                <a:gdLst/>
                <a:ahLst/>
                <a:cxnLst/>
                <a:rect l="l" t="t" r="r" b="b"/>
                <a:pathLst>
                  <a:path w="189229" h="398145">
                    <a:moveTo>
                      <a:pt x="42647" y="0"/>
                    </a:moveTo>
                    <a:lnTo>
                      <a:pt x="0" y="0"/>
                    </a:lnTo>
                    <a:lnTo>
                      <a:pt x="79536" y="297394"/>
                    </a:lnTo>
                    <a:lnTo>
                      <a:pt x="71020" y="325412"/>
                    </a:lnTo>
                    <a:lnTo>
                      <a:pt x="57702" y="346022"/>
                    </a:lnTo>
                    <a:lnTo>
                      <a:pt x="39738" y="358741"/>
                    </a:lnTo>
                    <a:lnTo>
                      <a:pt x="17287" y="363088"/>
                    </a:lnTo>
                    <a:lnTo>
                      <a:pt x="4607" y="363088"/>
                    </a:lnTo>
                    <a:lnTo>
                      <a:pt x="4607" y="397673"/>
                    </a:lnTo>
                    <a:lnTo>
                      <a:pt x="25936" y="397673"/>
                    </a:lnTo>
                    <a:lnTo>
                      <a:pt x="59667" y="390613"/>
                    </a:lnTo>
                    <a:lnTo>
                      <a:pt x="86162" y="370153"/>
                    </a:lnTo>
                    <a:lnTo>
                      <a:pt x="106174" y="337376"/>
                    </a:lnTo>
                    <a:lnTo>
                      <a:pt x="120457" y="293362"/>
                    </a:lnTo>
                    <a:lnTo>
                      <a:pt x="135414" y="229385"/>
                    </a:lnTo>
                    <a:lnTo>
                      <a:pt x="99117" y="229385"/>
                    </a:lnTo>
                    <a:lnTo>
                      <a:pt x="42647" y="0"/>
                    </a:lnTo>
                    <a:close/>
                  </a:path>
                  <a:path w="189229" h="398145">
                    <a:moveTo>
                      <a:pt x="189041" y="0"/>
                    </a:moveTo>
                    <a:lnTo>
                      <a:pt x="146393" y="0"/>
                    </a:lnTo>
                    <a:lnTo>
                      <a:pt x="100279" y="229385"/>
                    </a:lnTo>
                    <a:lnTo>
                      <a:pt x="135414" y="229385"/>
                    </a:lnTo>
                    <a:lnTo>
                      <a:pt x="189041" y="0"/>
                    </a:lnTo>
                    <a:close/>
                  </a:path>
                </a:pathLst>
              </a:custGeom>
              <a:solidFill>
                <a:srgbClr val="000000"/>
              </a:solidFill>
            </p:spPr>
            <p:txBody>
              <a:bodyPr wrap="square" lIns="0" tIns="0" rIns="0" bIns="0" rtlCol="0"/>
              <a:lstStyle/>
              <a:p>
                <a:endParaRPr sz="373"/>
              </a:p>
            </p:txBody>
          </p:sp>
          <p:sp>
            <p:nvSpPr>
              <p:cNvPr id="36" name="object 27"/>
              <p:cNvSpPr/>
              <p:nvPr/>
            </p:nvSpPr>
            <p:spPr>
              <a:xfrm>
                <a:off x="4449546" y="10153213"/>
                <a:ext cx="137794" cy="405765"/>
              </a:xfrm>
              <a:custGeom>
                <a:avLst/>
                <a:gdLst/>
                <a:ahLst/>
                <a:cxnLst/>
                <a:rect l="l" t="t" r="r" b="b"/>
                <a:pathLst>
                  <a:path w="137795" h="405765">
                    <a:moveTo>
                      <a:pt x="81850" y="134865"/>
                    </a:moveTo>
                    <a:lnTo>
                      <a:pt x="40344" y="134865"/>
                    </a:lnTo>
                    <a:lnTo>
                      <a:pt x="40344" y="341193"/>
                    </a:lnTo>
                    <a:lnTo>
                      <a:pt x="43839" y="370734"/>
                    </a:lnTo>
                    <a:lnTo>
                      <a:pt x="54469" y="390762"/>
                    </a:lnTo>
                    <a:lnTo>
                      <a:pt x="72450" y="402145"/>
                    </a:lnTo>
                    <a:lnTo>
                      <a:pt x="97997" y="405746"/>
                    </a:lnTo>
                    <a:lnTo>
                      <a:pt x="109788" y="405332"/>
                    </a:lnTo>
                    <a:lnTo>
                      <a:pt x="119747" y="404163"/>
                    </a:lnTo>
                    <a:lnTo>
                      <a:pt x="128627" y="402345"/>
                    </a:lnTo>
                    <a:lnTo>
                      <a:pt x="137179" y="399987"/>
                    </a:lnTo>
                    <a:lnTo>
                      <a:pt x="137179" y="374627"/>
                    </a:lnTo>
                    <a:lnTo>
                      <a:pt x="111818" y="374627"/>
                    </a:lnTo>
                    <a:lnTo>
                      <a:pt x="98385" y="372375"/>
                    </a:lnTo>
                    <a:lnTo>
                      <a:pt x="89056" y="366126"/>
                    </a:lnTo>
                    <a:lnTo>
                      <a:pt x="83616" y="356635"/>
                    </a:lnTo>
                    <a:lnTo>
                      <a:pt x="81850" y="344659"/>
                    </a:lnTo>
                    <a:lnTo>
                      <a:pt x="81850" y="134865"/>
                    </a:lnTo>
                    <a:close/>
                  </a:path>
                  <a:path w="137795" h="405765">
                    <a:moveTo>
                      <a:pt x="137179" y="368857"/>
                    </a:moveTo>
                    <a:lnTo>
                      <a:pt x="131420" y="370734"/>
                    </a:lnTo>
                    <a:lnTo>
                      <a:pt x="124930" y="372606"/>
                    </a:lnTo>
                    <a:lnTo>
                      <a:pt x="118213" y="374049"/>
                    </a:lnTo>
                    <a:lnTo>
                      <a:pt x="111818" y="374627"/>
                    </a:lnTo>
                    <a:lnTo>
                      <a:pt x="137179" y="374627"/>
                    </a:lnTo>
                    <a:lnTo>
                      <a:pt x="137179" y="368857"/>
                    </a:lnTo>
                    <a:close/>
                  </a:path>
                  <a:path w="137795" h="405765">
                    <a:moveTo>
                      <a:pt x="137179" y="100290"/>
                    </a:moveTo>
                    <a:lnTo>
                      <a:pt x="0" y="100290"/>
                    </a:lnTo>
                    <a:lnTo>
                      <a:pt x="0" y="134865"/>
                    </a:lnTo>
                    <a:lnTo>
                      <a:pt x="137179" y="134865"/>
                    </a:lnTo>
                    <a:lnTo>
                      <a:pt x="137179" y="100290"/>
                    </a:lnTo>
                    <a:close/>
                  </a:path>
                  <a:path w="137795" h="405765">
                    <a:moveTo>
                      <a:pt x="81850" y="0"/>
                    </a:moveTo>
                    <a:lnTo>
                      <a:pt x="40344" y="0"/>
                    </a:lnTo>
                    <a:lnTo>
                      <a:pt x="40344" y="100290"/>
                    </a:lnTo>
                    <a:lnTo>
                      <a:pt x="81850" y="100290"/>
                    </a:lnTo>
                    <a:lnTo>
                      <a:pt x="81850" y="0"/>
                    </a:lnTo>
                    <a:close/>
                  </a:path>
                </a:pathLst>
              </a:custGeom>
              <a:solidFill>
                <a:srgbClr val="000000"/>
              </a:solidFill>
            </p:spPr>
            <p:txBody>
              <a:bodyPr wrap="square" lIns="0" tIns="0" rIns="0" bIns="0" rtlCol="0"/>
              <a:lstStyle/>
              <a:p>
                <a:endParaRPr sz="373"/>
              </a:p>
            </p:txBody>
          </p:sp>
          <p:sp>
            <p:nvSpPr>
              <p:cNvPr id="37" name="object 28"/>
              <p:cNvSpPr/>
              <p:nvPr/>
            </p:nvSpPr>
            <p:spPr>
              <a:xfrm>
                <a:off x="4648374" y="10137066"/>
                <a:ext cx="41911" cy="48894"/>
              </a:xfrm>
              <a:custGeom>
                <a:avLst/>
                <a:gdLst/>
                <a:ahLst/>
                <a:cxnLst/>
                <a:rect l="l" t="t" r="r" b="b"/>
                <a:pathLst>
                  <a:path w="41910" h="48895">
                    <a:moveTo>
                      <a:pt x="41506" y="0"/>
                    </a:moveTo>
                    <a:lnTo>
                      <a:pt x="0" y="0"/>
                    </a:lnTo>
                    <a:lnTo>
                      <a:pt x="0" y="48427"/>
                    </a:lnTo>
                    <a:lnTo>
                      <a:pt x="41506" y="48427"/>
                    </a:lnTo>
                    <a:lnTo>
                      <a:pt x="41506" y="0"/>
                    </a:lnTo>
                    <a:close/>
                  </a:path>
                </a:pathLst>
              </a:custGeom>
              <a:solidFill>
                <a:srgbClr val="000000"/>
              </a:solidFill>
            </p:spPr>
            <p:txBody>
              <a:bodyPr wrap="square" lIns="0" tIns="0" rIns="0" bIns="0" rtlCol="0"/>
              <a:lstStyle/>
              <a:p>
                <a:endParaRPr sz="373"/>
              </a:p>
            </p:txBody>
          </p:sp>
          <p:sp>
            <p:nvSpPr>
              <p:cNvPr id="38" name="object 29"/>
              <p:cNvSpPr/>
              <p:nvPr/>
            </p:nvSpPr>
            <p:spPr>
              <a:xfrm>
                <a:off x="4669125" y="10253502"/>
                <a:ext cx="0" cy="299720"/>
              </a:xfrm>
              <a:custGeom>
                <a:avLst/>
                <a:gdLst/>
                <a:ahLst/>
                <a:cxnLst/>
                <a:rect l="l" t="t" r="r" b="b"/>
                <a:pathLst>
                  <a:path h="299720">
                    <a:moveTo>
                      <a:pt x="0" y="0"/>
                    </a:moveTo>
                    <a:lnTo>
                      <a:pt x="0" y="299697"/>
                    </a:lnTo>
                  </a:path>
                </a:pathLst>
              </a:custGeom>
              <a:ln w="41506">
                <a:solidFill>
                  <a:srgbClr val="000000"/>
                </a:solidFill>
              </a:ln>
            </p:spPr>
            <p:txBody>
              <a:bodyPr wrap="square" lIns="0" tIns="0" rIns="0" bIns="0" rtlCol="0"/>
              <a:lstStyle/>
              <a:p>
                <a:endParaRPr sz="373"/>
              </a:p>
            </p:txBody>
          </p:sp>
          <p:sp>
            <p:nvSpPr>
              <p:cNvPr id="39" name="object 30"/>
              <p:cNvSpPr/>
              <p:nvPr/>
            </p:nvSpPr>
            <p:spPr>
              <a:xfrm>
                <a:off x="4744661" y="10247729"/>
                <a:ext cx="180976" cy="311785"/>
              </a:xfrm>
              <a:custGeom>
                <a:avLst/>
                <a:gdLst/>
                <a:ahLst/>
                <a:cxnLst/>
                <a:rect l="l" t="t" r="r" b="b"/>
                <a:pathLst>
                  <a:path w="180975" h="311784">
                    <a:moveTo>
                      <a:pt x="91641" y="0"/>
                    </a:moveTo>
                    <a:lnTo>
                      <a:pt x="50822" y="9078"/>
                    </a:lnTo>
                    <a:lnTo>
                      <a:pt x="22265" y="37176"/>
                    </a:lnTo>
                    <a:lnTo>
                      <a:pt x="5485" y="85591"/>
                    </a:lnTo>
                    <a:lnTo>
                      <a:pt x="0" y="155618"/>
                    </a:lnTo>
                    <a:lnTo>
                      <a:pt x="5485" y="225649"/>
                    </a:lnTo>
                    <a:lnTo>
                      <a:pt x="22265" y="274063"/>
                    </a:lnTo>
                    <a:lnTo>
                      <a:pt x="50822" y="302159"/>
                    </a:lnTo>
                    <a:lnTo>
                      <a:pt x="91641" y="311236"/>
                    </a:lnTo>
                    <a:lnTo>
                      <a:pt x="127392" y="303834"/>
                    </a:lnTo>
                    <a:lnTo>
                      <a:pt x="153742" y="283140"/>
                    </a:lnTo>
                    <a:lnTo>
                      <a:pt x="157321" y="276651"/>
                    </a:lnTo>
                    <a:lnTo>
                      <a:pt x="91641" y="276651"/>
                    </a:lnTo>
                    <a:lnTo>
                      <a:pt x="68975" y="271679"/>
                    </a:lnTo>
                    <a:lnTo>
                      <a:pt x="53381" y="253307"/>
                    </a:lnTo>
                    <a:lnTo>
                      <a:pt x="44379" y="216349"/>
                    </a:lnTo>
                    <a:lnTo>
                      <a:pt x="41485" y="155618"/>
                    </a:lnTo>
                    <a:lnTo>
                      <a:pt x="44379" y="94887"/>
                    </a:lnTo>
                    <a:lnTo>
                      <a:pt x="53381" y="57928"/>
                    </a:lnTo>
                    <a:lnTo>
                      <a:pt x="68975" y="39556"/>
                    </a:lnTo>
                    <a:lnTo>
                      <a:pt x="91641" y="34585"/>
                    </a:lnTo>
                    <a:lnTo>
                      <a:pt x="158099" y="34585"/>
                    </a:lnTo>
                    <a:lnTo>
                      <a:pt x="152733" y="25217"/>
                    </a:lnTo>
                    <a:lnTo>
                      <a:pt x="127050" y="6502"/>
                    </a:lnTo>
                    <a:lnTo>
                      <a:pt x="91641" y="0"/>
                    </a:lnTo>
                    <a:close/>
                  </a:path>
                  <a:path w="180975" h="311784">
                    <a:moveTo>
                      <a:pt x="180402" y="210956"/>
                    </a:moveTo>
                    <a:lnTo>
                      <a:pt x="140058" y="210956"/>
                    </a:lnTo>
                    <a:lnTo>
                      <a:pt x="133301" y="243101"/>
                    </a:lnTo>
                    <a:lnTo>
                      <a:pt x="123196" y="263252"/>
                    </a:lnTo>
                    <a:lnTo>
                      <a:pt x="109417" y="273679"/>
                    </a:lnTo>
                    <a:lnTo>
                      <a:pt x="91641" y="276651"/>
                    </a:lnTo>
                    <a:lnTo>
                      <a:pt x="157321" y="276651"/>
                    </a:lnTo>
                    <a:lnTo>
                      <a:pt x="171232" y="251424"/>
                    </a:lnTo>
                    <a:lnTo>
                      <a:pt x="180402" y="210956"/>
                    </a:lnTo>
                    <a:close/>
                  </a:path>
                  <a:path w="180975" h="311784">
                    <a:moveTo>
                      <a:pt x="158099" y="34585"/>
                    </a:moveTo>
                    <a:lnTo>
                      <a:pt x="91641" y="34585"/>
                    </a:lnTo>
                    <a:lnTo>
                      <a:pt x="109152" y="37629"/>
                    </a:lnTo>
                    <a:lnTo>
                      <a:pt x="123263" y="47697"/>
                    </a:lnTo>
                    <a:lnTo>
                      <a:pt x="133376" y="66196"/>
                    </a:lnTo>
                    <a:lnTo>
                      <a:pt x="138896" y="94531"/>
                    </a:lnTo>
                    <a:lnTo>
                      <a:pt x="179240" y="94531"/>
                    </a:lnTo>
                    <a:lnTo>
                      <a:pt x="169770" y="54956"/>
                    </a:lnTo>
                    <a:lnTo>
                      <a:pt x="158099" y="34585"/>
                    </a:lnTo>
                    <a:close/>
                  </a:path>
                </a:pathLst>
              </a:custGeom>
              <a:solidFill>
                <a:srgbClr val="000000"/>
              </a:solidFill>
            </p:spPr>
            <p:txBody>
              <a:bodyPr wrap="square" lIns="0" tIns="0" rIns="0" bIns="0" rtlCol="0"/>
              <a:lstStyle/>
              <a:p>
                <a:endParaRPr sz="373"/>
              </a:p>
            </p:txBody>
          </p:sp>
          <p:sp>
            <p:nvSpPr>
              <p:cNvPr id="40" name="object 31"/>
              <p:cNvSpPr/>
              <p:nvPr/>
            </p:nvSpPr>
            <p:spPr>
              <a:xfrm>
                <a:off x="4955927" y="10247727"/>
                <a:ext cx="177801" cy="311785"/>
              </a:xfrm>
              <a:custGeom>
                <a:avLst/>
                <a:gdLst/>
                <a:ahLst/>
                <a:cxnLst/>
                <a:rect l="l" t="t" r="r" b="b"/>
                <a:pathLst>
                  <a:path w="177800" h="311784">
                    <a:moveTo>
                      <a:pt x="38030" y="223637"/>
                    </a:moveTo>
                    <a:lnTo>
                      <a:pt x="0" y="231699"/>
                    </a:lnTo>
                    <a:lnTo>
                      <a:pt x="13413" y="265277"/>
                    </a:lnTo>
                    <a:lnTo>
                      <a:pt x="32928" y="290268"/>
                    </a:lnTo>
                    <a:lnTo>
                      <a:pt x="59900" y="305859"/>
                    </a:lnTo>
                    <a:lnTo>
                      <a:pt x="95682" y="311236"/>
                    </a:lnTo>
                    <a:lnTo>
                      <a:pt x="128400" y="304915"/>
                    </a:lnTo>
                    <a:lnTo>
                      <a:pt x="154314" y="287465"/>
                    </a:lnTo>
                    <a:lnTo>
                      <a:pt x="161324" y="276651"/>
                    </a:lnTo>
                    <a:lnTo>
                      <a:pt x="92792" y="276651"/>
                    </a:lnTo>
                    <a:lnTo>
                      <a:pt x="72566" y="272094"/>
                    </a:lnTo>
                    <a:lnTo>
                      <a:pt x="57201" y="260082"/>
                    </a:lnTo>
                    <a:lnTo>
                      <a:pt x="45940" y="243101"/>
                    </a:lnTo>
                    <a:lnTo>
                      <a:pt x="38030" y="223637"/>
                    </a:lnTo>
                    <a:close/>
                  </a:path>
                  <a:path w="177800" h="311784">
                    <a:moveTo>
                      <a:pt x="87033" y="0"/>
                    </a:moveTo>
                    <a:lnTo>
                      <a:pt x="55665" y="5834"/>
                    </a:lnTo>
                    <a:lnTo>
                      <a:pt x="31052" y="21611"/>
                    </a:lnTo>
                    <a:lnTo>
                      <a:pt x="14978" y="44739"/>
                    </a:lnTo>
                    <a:lnTo>
                      <a:pt x="9224" y="72626"/>
                    </a:lnTo>
                    <a:lnTo>
                      <a:pt x="18617" y="110183"/>
                    </a:lnTo>
                    <a:lnTo>
                      <a:pt x="42099" y="137542"/>
                    </a:lnTo>
                    <a:lnTo>
                      <a:pt x="72626" y="159009"/>
                    </a:lnTo>
                    <a:lnTo>
                      <a:pt x="103152" y="178890"/>
                    </a:lnTo>
                    <a:lnTo>
                      <a:pt x="126634" y="201493"/>
                    </a:lnTo>
                    <a:lnTo>
                      <a:pt x="136027" y="231123"/>
                    </a:lnTo>
                    <a:lnTo>
                      <a:pt x="132431" y="248693"/>
                    </a:lnTo>
                    <a:lnTo>
                      <a:pt x="122836" y="263181"/>
                    </a:lnTo>
                    <a:lnTo>
                      <a:pt x="109028" y="273022"/>
                    </a:lnTo>
                    <a:lnTo>
                      <a:pt x="92792" y="276651"/>
                    </a:lnTo>
                    <a:lnTo>
                      <a:pt x="161324" y="276651"/>
                    </a:lnTo>
                    <a:lnTo>
                      <a:pt x="171370" y="261152"/>
                    </a:lnTo>
                    <a:lnTo>
                      <a:pt x="177512" y="228244"/>
                    </a:lnTo>
                    <a:lnTo>
                      <a:pt x="168120" y="188369"/>
                    </a:lnTo>
                    <a:lnTo>
                      <a:pt x="144638" y="159381"/>
                    </a:lnTo>
                    <a:lnTo>
                      <a:pt x="114111" y="137180"/>
                    </a:lnTo>
                    <a:lnTo>
                      <a:pt x="83585" y="117667"/>
                    </a:lnTo>
                    <a:lnTo>
                      <a:pt x="60103" y="96744"/>
                    </a:lnTo>
                    <a:lnTo>
                      <a:pt x="50710" y="70311"/>
                    </a:lnTo>
                    <a:lnTo>
                      <a:pt x="53179" y="56226"/>
                    </a:lnTo>
                    <a:lnTo>
                      <a:pt x="60081" y="44889"/>
                    </a:lnTo>
                    <a:lnTo>
                      <a:pt x="70659" y="37333"/>
                    </a:lnTo>
                    <a:lnTo>
                      <a:pt x="84154" y="34585"/>
                    </a:lnTo>
                    <a:lnTo>
                      <a:pt x="154640" y="34585"/>
                    </a:lnTo>
                    <a:lnTo>
                      <a:pt x="142431" y="18880"/>
                    </a:lnTo>
                    <a:lnTo>
                      <a:pt x="118163" y="4846"/>
                    </a:lnTo>
                    <a:lnTo>
                      <a:pt x="87033" y="0"/>
                    </a:lnTo>
                    <a:close/>
                  </a:path>
                  <a:path w="177800" h="311784">
                    <a:moveTo>
                      <a:pt x="154640" y="34585"/>
                    </a:moveTo>
                    <a:lnTo>
                      <a:pt x="84154" y="34585"/>
                    </a:lnTo>
                    <a:lnTo>
                      <a:pt x="105310" y="38323"/>
                    </a:lnTo>
                    <a:lnTo>
                      <a:pt x="119817" y="48491"/>
                    </a:lnTo>
                    <a:lnTo>
                      <a:pt x="129460" y="63523"/>
                    </a:lnTo>
                    <a:lnTo>
                      <a:pt x="136027" y="81850"/>
                    </a:lnTo>
                    <a:lnTo>
                      <a:pt x="170602" y="71474"/>
                    </a:lnTo>
                    <a:lnTo>
                      <a:pt x="159893" y="41342"/>
                    </a:lnTo>
                    <a:lnTo>
                      <a:pt x="154640" y="34585"/>
                    </a:lnTo>
                    <a:close/>
                  </a:path>
                </a:pathLst>
              </a:custGeom>
              <a:solidFill>
                <a:srgbClr val="000000"/>
              </a:solidFill>
            </p:spPr>
            <p:txBody>
              <a:bodyPr wrap="square" lIns="0" tIns="0" rIns="0" bIns="0" rtlCol="0"/>
              <a:lstStyle/>
              <a:p>
                <a:endParaRPr sz="373"/>
              </a:p>
            </p:txBody>
          </p:sp>
        </p:grpSp>
      </p:grpSp>
    </p:spTree>
  </p:cSld>
  <p:clrMapOvr>
    <a:masterClrMapping/>
  </p:clrMapOvr>
  <p:transition>
    <p:zoom/>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a:themeElements>
    <a:clrScheme name="Custom 1">
      <a:dk1>
        <a:srgbClr val="53565A"/>
      </a:dk1>
      <a:lt1>
        <a:srgbClr val="FFFFFF"/>
      </a:lt1>
      <a:dk2>
        <a:srgbClr val="FF6C00"/>
      </a:dk2>
      <a:lt2>
        <a:srgbClr val="E7E6E6"/>
      </a:lt2>
      <a:accent1>
        <a:srgbClr val="3678DF"/>
      </a:accent1>
      <a:accent2>
        <a:srgbClr val="FF6C00"/>
      </a:accent2>
      <a:accent3>
        <a:srgbClr val="FCD300"/>
      </a:accent3>
      <a:accent4>
        <a:srgbClr val="F73D28"/>
      </a:accent4>
      <a:accent5>
        <a:srgbClr val="8ED600"/>
      </a:accent5>
      <a:accent6>
        <a:srgbClr val="661CC9"/>
      </a:accent6>
      <a:hlink>
        <a:srgbClr val="0563C1"/>
      </a:hlink>
      <a:folHlink>
        <a:srgbClr val="FF6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1</Template>
  <TotalTime>0</TotalTime>
  <Words>4161</Words>
  <Application>Microsoft Office PowerPoint</Application>
  <PresentationFormat>On-screen Show (16:9)</PresentationFormat>
  <Paragraphs>428</Paragraphs>
  <Slides>72</Slides>
  <Notes>38</Notes>
  <HiddenSlides>8</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8" baseType="lpstr">
      <vt:lpstr>ArialMT</vt:lpstr>
      <vt:lpstr>CG Omega</vt:lpstr>
      <vt:lpstr>Microsoft JhengHei</vt:lpstr>
      <vt:lpstr>Microsoft YaHei UI</vt:lpstr>
      <vt:lpstr>NexusSansOT</vt:lpstr>
      <vt:lpstr>PMingLiU-ExtB</vt:lpstr>
      <vt:lpstr>黑体</vt:lpstr>
      <vt:lpstr>Arial</vt:lpstr>
      <vt:lpstr>Arial Bold</vt:lpstr>
      <vt:lpstr>Calibri</vt:lpstr>
      <vt:lpstr>Courier New</vt:lpstr>
      <vt:lpstr>Times</vt:lpstr>
      <vt:lpstr>Times New Roman</vt:lpstr>
      <vt:lpstr>Wingdings</vt:lpstr>
      <vt:lpstr>Elsevier</vt:lpstr>
      <vt:lpstr>think-cell Slide</vt:lpstr>
      <vt:lpstr>Engineering Village- 开展工程领域研究的首选方案</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在工科文献调研中的应用EI数据库</vt:lpstr>
      <vt:lpstr>一、文献收集重点-文献调研阶段</vt:lpstr>
      <vt:lpstr>二、先看综述性论文，再看研究论文。 </vt:lpstr>
      <vt:lpstr>三、注重学位论文的检索和阅读。</vt:lpstr>
      <vt:lpstr>四、阅读本领域的主要研究者/机构的文献</vt:lpstr>
      <vt:lpstr>阅读高被引次数的文献</vt:lpstr>
      <vt:lpstr>PowerPoint Presentation</vt:lpstr>
      <vt:lpstr>Ei工程索引叙词表</vt:lpstr>
      <vt:lpstr>PowerPoint Presentation</vt:lpstr>
      <vt:lpstr>PowerPoint Presentation</vt:lpstr>
      <vt:lpstr>PowerPoint Presentation</vt:lpstr>
      <vt:lpstr>叙词检索Thesaurus Search：迅速高效了解新领域</vt:lpstr>
      <vt:lpstr>PowerPoint Presentation</vt:lpstr>
      <vt:lpstr>Quick Search – 快速检索</vt:lpstr>
      <vt:lpstr>页面介绍</vt:lpstr>
      <vt:lpstr>以关键词“air pollution”检索：结果页面 - 1</vt:lpstr>
      <vt:lpstr>以关键词“air pollution”检索：结果页面 - 2</vt:lpstr>
      <vt:lpstr>PowerPoint Presentation</vt:lpstr>
      <vt:lpstr>过滤检索结果</vt:lpstr>
      <vt:lpstr>PowerPoint Presentation</vt:lpstr>
      <vt:lpstr>分析检索结果</vt:lpstr>
      <vt:lpstr>举例：只关注‘中国’近5年的‘air pollution’的研究</vt:lpstr>
      <vt:lpstr>分析检索结果</vt:lpstr>
      <vt:lpstr>Refine Results 的用途</vt:lpstr>
      <vt:lpstr>经过整理的记录：详细格式</vt:lpstr>
      <vt:lpstr>管理检索结果</vt:lpstr>
      <vt:lpstr>有五种选项保存需要的文章</vt:lpstr>
      <vt:lpstr>存到我的资料夹</vt:lpstr>
      <vt:lpstr>标签功能</vt:lpstr>
      <vt:lpstr>PowerPoint Presentation</vt:lpstr>
      <vt:lpstr>Expert Search – 专家检索</vt:lpstr>
      <vt:lpstr>通配符</vt:lpstr>
      <vt:lpstr>查收-人名检索</vt:lpstr>
      <vt:lpstr>查收-机构检索 </vt:lpstr>
      <vt:lpstr>PowerPoint Presentation</vt:lpstr>
      <vt:lpstr>提高主题检索效率的方法 （准且全）</vt:lpstr>
      <vt:lpstr>叙词表的作用</vt:lpstr>
      <vt:lpstr>THESAURUS词库-Beverages（饮料）</vt:lpstr>
      <vt:lpstr>实例－用叙词表选词进行主题检索</vt:lpstr>
      <vt:lpstr>用EI叙词表选词</vt:lpstr>
      <vt:lpstr>PowerPoint Presentation</vt:lpstr>
      <vt:lpstr>My Profile</vt:lpstr>
      <vt:lpstr>PowerPoint Presentation</vt:lpstr>
      <vt:lpstr>数值检索-来自数值数据的更多信息</vt:lpstr>
      <vt:lpstr>数值检索</vt:lpstr>
      <vt:lpstr>PowerPoint Presentation</vt:lpstr>
      <vt:lpstr>数值检索优势</vt:lpstr>
      <vt:lpstr>PlumX 指数：进一步了解论文影响力</vt:lpstr>
      <vt:lpstr>PowerPoint Presentation</vt:lpstr>
      <vt:lpstr>PowerPoint Presentation</vt:lpstr>
      <vt:lpstr>PowerPoint Presentation</vt:lpstr>
      <vt:lpstr>PowerPoint Presentation</vt:lpstr>
      <vt:lpstr>机构检索</vt:lpstr>
      <vt:lpstr>作者检索</vt:lpstr>
      <vt:lpstr>EV特色</vt:lpstr>
      <vt:lpstr>PowerPoint Presentation</vt:lpstr>
      <vt:lpstr>PowerPoint Presentation</vt:lpstr>
      <vt:lpstr>帮助</vt:lpstr>
      <vt:lpstr>售后服务</vt:lpstr>
      <vt:lpstr>相关网站资源</vt:lpstr>
      <vt:lpstr>PowerPoint Presentation</vt:lpstr>
      <vt:lpstr>科学世界的变化给研究人员带来新挑战</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07-23T12:36:44Z</cp:lastPrinted>
  <dcterms:created xsi:type="dcterms:W3CDTF">2018-05-29T20:11:58Z</dcterms:created>
  <dcterms:modified xsi:type="dcterms:W3CDTF">2020-10-23T01:36:29Z</dcterms:modified>
</cp:coreProperties>
</file>